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2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3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4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5.xml" ContentType="application/vnd.openxmlformats-officedocument.theme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theme/theme7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  <p:sldMasterId id="2147483724" r:id="rId2"/>
    <p:sldMasterId id="2147483754" r:id="rId3"/>
    <p:sldMasterId id="2147483758" r:id="rId4"/>
    <p:sldMasterId id="2147483780" r:id="rId5"/>
    <p:sldMasterId id="2147483837" r:id="rId6"/>
    <p:sldMasterId id="2147483873" r:id="rId7"/>
  </p:sldMasterIdLst>
  <p:notesMasterIdLst>
    <p:notesMasterId r:id="rId10"/>
  </p:notesMasterIdLst>
  <p:sldIdLst>
    <p:sldId id="3575" r:id="rId8"/>
    <p:sldId id="3576" r:id="rId9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udson" initials="H" lastIdx="1" clrIdx="0">
    <p:extLst>
      <p:ext uri="{19B8F6BF-5375-455C-9EA6-DF929625EA0E}">
        <p15:presenceInfo xmlns:p15="http://schemas.microsoft.com/office/powerpoint/2012/main" userId="Hudso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99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38ECF1A-8ECB-4C34-A2D6-3145E71C9EEE}" v="63" dt="2023-07-05T18:09:08.86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73" autoAdjust="0"/>
    <p:restoredTop sz="96247" autoAdjust="0"/>
  </p:normalViewPr>
  <p:slideViewPr>
    <p:cSldViewPr>
      <p:cViewPr varScale="1">
        <p:scale>
          <a:sx n="111" d="100"/>
          <a:sy n="111" d="100"/>
        </p:scale>
        <p:origin x="138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ashington Nascimento" userId="f3b9592a5eff0234" providerId="LiveId" clId="{E1E77BB6-6D89-4D39-A1FB-CB10CA02F64F}"/>
    <pc:docChg chg="custSel modSld">
      <pc:chgData name="Washington Nascimento" userId="f3b9592a5eff0234" providerId="LiveId" clId="{E1E77BB6-6D89-4D39-A1FB-CB10CA02F64F}" dt="2023-04-26T17:44:29.251" v="16" actId="1076"/>
      <pc:docMkLst>
        <pc:docMk/>
      </pc:docMkLst>
      <pc:sldChg chg="delSp modSp mod">
        <pc:chgData name="Washington Nascimento" userId="f3b9592a5eff0234" providerId="LiveId" clId="{E1E77BB6-6D89-4D39-A1FB-CB10CA02F64F}" dt="2023-04-26T17:44:29.251" v="16" actId="1076"/>
        <pc:sldMkLst>
          <pc:docMk/>
          <pc:sldMk cId="3927495528" sldId="2147310162"/>
        </pc:sldMkLst>
        <pc:spChg chg="mod">
          <ac:chgData name="Washington Nascimento" userId="f3b9592a5eff0234" providerId="LiveId" clId="{E1E77BB6-6D89-4D39-A1FB-CB10CA02F64F}" dt="2023-04-26T17:44:29.251" v="16" actId="1076"/>
          <ac:spMkLst>
            <pc:docMk/>
            <pc:sldMk cId="3927495528" sldId="2147310162"/>
            <ac:spMk id="13" creationId="{D8A37D6B-6DA1-4A4F-B08C-DD760F02801A}"/>
          </ac:spMkLst>
        </pc:spChg>
        <pc:picChg chg="del">
          <ac:chgData name="Washington Nascimento" userId="f3b9592a5eff0234" providerId="LiveId" clId="{E1E77BB6-6D89-4D39-A1FB-CB10CA02F64F}" dt="2023-04-26T17:44:20.382" v="15" actId="478"/>
          <ac:picMkLst>
            <pc:docMk/>
            <pc:sldMk cId="3927495528" sldId="2147310162"/>
            <ac:picMk id="3" creationId="{EBC35CED-543C-4EB3-8C49-7905BDE960FD}"/>
          </ac:picMkLst>
        </pc:picChg>
      </pc:sldChg>
    </pc:docChg>
  </pc:docChgLst>
  <pc:docChgLst>
    <pc:chgData name="Washington Nascimento" userId="f3b9592a5eff0234" providerId="LiveId" clId="{68EB0348-4B5A-415A-BAB8-C66242503A24}"/>
    <pc:docChg chg="undo custSel modSld">
      <pc:chgData name="Washington Nascimento" userId="f3b9592a5eff0234" providerId="LiveId" clId="{68EB0348-4B5A-415A-BAB8-C66242503A24}" dt="2022-10-26T17:40:13.505" v="88" actId="5793"/>
      <pc:docMkLst>
        <pc:docMk/>
      </pc:docMkLst>
      <pc:sldChg chg="addSp delSp modSp mod">
        <pc:chgData name="Washington Nascimento" userId="f3b9592a5eff0234" providerId="LiveId" clId="{68EB0348-4B5A-415A-BAB8-C66242503A24}" dt="2022-10-26T17:30:32.415" v="45"/>
        <pc:sldMkLst>
          <pc:docMk/>
          <pc:sldMk cId="2064857369" sldId="256"/>
        </pc:sldMkLst>
        <pc:spChg chg="add del mod">
          <ac:chgData name="Washington Nascimento" userId="f3b9592a5eff0234" providerId="LiveId" clId="{68EB0348-4B5A-415A-BAB8-C66242503A24}" dt="2022-10-26T17:28:58.929" v="6"/>
          <ac:spMkLst>
            <pc:docMk/>
            <pc:sldMk cId="2064857369" sldId="256"/>
            <ac:spMk id="2" creationId="{900F9B90-9326-1741-5A25-C59849D6CFBF}"/>
          </ac:spMkLst>
        </pc:spChg>
        <pc:spChg chg="add del mod">
          <ac:chgData name="Washington Nascimento" userId="f3b9592a5eff0234" providerId="LiveId" clId="{68EB0348-4B5A-415A-BAB8-C66242503A24}" dt="2022-10-26T17:28:58.929" v="6"/>
          <ac:spMkLst>
            <pc:docMk/>
            <pc:sldMk cId="2064857369" sldId="256"/>
            <ac:spMk id="4" creationId="{F19A5FB8-B362-23DF-6378-35C4B56C412D}"/>
          </ac:spMkLst>
        </pc:spChg>
        <pc:spChg chg="del mod">
          <ac:chgData name="Washington Nascimento" userId="f3b9592a5eff0234" providerId="LiveId" clId="{68EB0348-4B5A-415A-BAB8-C66242503A24}" dt="2022-10-26T17:28:53.418" v="2" actId="478"/>
          <ac:spMkLst>
            <pc:docMk/>
            <pc:sldMk cId="2064857369" sldId="256"/>
            <ac:spMk id="5" creationId="{65927FBF-A928-4502-9346-9AD0E0E9AE8A}"/>
          </ac:spMkLst>
        </pc:spChg>
        <pc:spChg chg="add mod ord">
          <ac:chgData name="Washington Nascimento" userId="f3b9592a5eff0234" providerId="LiveId" clId="{68EB0348-4B5A-415A-BAB8-C66242503A24}" dt="2022-10-26T17:29:17.430" v="11" actId="167"/>
          <ac:spMkLst>
            <pc:docMk/>
            <pc:sldMk cId="2064857369" sldId="256"/>
            <ac:spMk id="7" creationId="{B59F42E2-3BB4-D3FF-C0F8-25CCC2205DB6}"/>
          </ac:spMkLst>
        </pc:spChg>
        <pc:spChg chg="add del mod ord">
          <ac:chgData name="Washington Nascimento" userId="f3b9592a5eff0234" providerId="LiveId" clId="{68EB0348-4B5A-415A-BAB8-C66242503A24}" dt="2022-10-26T17:30:29.440" v="42" actId="478"/>
          <ac:spMkLst>
            <pc:docMk/>
            <pc:sldMk cId="2064857369" sldId="256"/>
            <ac:spMk id="9" creationId="{FD7C2173-98AE-D03A-01BD-8A584193A8D2}"/>
          </ac:spMkLst>
        </pc:spChg>
        <pc:spChg chg="del">
          <ac:chgData name="Washington Nascimento" userId="f3b9592a5eff0234" providerId="LiveId" clId="{68EB0348-4B5A-415A-BAB8-C66242503A24}" dt="2022-10-26T17:29:34.288" v="15" actId="478"/>
          <ac:spMkLst>
            <pc:docMk/>
            <pc:sldMk cId="2064857369" sldId="256"/>
            <ac:spMk id="11" creationId="{D4D64FE4-58E5-4D4C-A68F-D1F83C4C0C7B}"/>
          </ac:spMkLst>
        </pc:spChg>
        <pc:spChg chg="add del mod">
          <ac:chgData name="Washington Nascimento" userId="f3b9592a5eff0234" providerId="LiveId" clId="{68EB0348-4B5A-415A-BAB8-C66242503A24}" dt="2022-10-26T17:30:30.721" v="44"/>
          <ac:spMkLst>
            <pc:docMk/>
            <pc:sldMk cId="2064857369" sldId="256"/>
            <ac:spMk id="17" creationId="{E92D9D42-8E29-68DB-594C-E664FAA2A256}"/>
          </ac:spMkLst>
        </pc:spChg>
        <pc:spChg chg="add mod">
          <ac:chgData name="Washington Nascimento" userId="f3b9592a5eff0234" providerId="LiveId" clId="{68EB0348-4B5A-415A-BAB8-C66242503A24}" dt="2022-10-26T17:30:32.415" v="45"/>
          <ac:spMkLst>
            <pc:docMk/>
            <pc:sldMk cId="2064857369" sldId="256"/>
            <ac:spMk id="19" creationId="{30A84F87-BA39-D9BD-94DF-0969B4A21FFB}"/>
          </ac:spMkLst>
        </pc:spChg>
        <pc:grpChg chg="add mod">
          <ac:chgData name="Washington Nascimento" userId="f3b9592a5eff0234" providerId="LiveId" clId="{68EB0348-4B5A-415A-BAB8-C66242503A24}" dt="2022-10-26T17:29:59.350" v="33" actId="14100"/>
          <ac:grpSpMkLst>
            <pc:docMk/>
            <pc:sldMk cId="2064857369" sldId="256"/>
            <ac:grpSpMk id="10" creationId="{5FDF82A7-82E5-8E5B-23B8-E28F2A4AE09B}"/>
          </ac:grpSpMkLst>
        </pc:grpChg>
        <pc:picChg chg="mod">
          <ac:chgData name="Washington Nascimento" userId="f3b9592a5eff0234" providerId="LiveId" clId="{68EB0348-4B5A-415A-BAB8-C66242503A24}" dt="2022-10-26T17:30:21.808" v="40" actId="1076"/>
          <ac:picMkLst>
            <pc:docMk/>
            <pc:sldMk cId="2064857369" sldId="256"/>
            <ac:picMk id="8" creationId="{08CB0120-46AA-4C32-93D8-C8835A35464F}"/>
          </ac:picMkLst>
        </pc:picChg>
        <pc:picChg chg="mod">
          <ac:chgData name="Washington Nascimento" userId="f3b9592a5eff0234" providerId="LiveId" clId="{68EB0348-4B5A-415A-BAB8-C66242503A24}" dt="2022-10-26T17:29:27.951" v="12"/>
          <ac:picMkLst>
            <pc:docMk/>
            <pc:sldMk cId="2064857369" sldId="256"/>
            <ac:picMk id="12" creationId="{87052FD9-1914-7CA0-DA93-67E48D89F111}"/>
          </ac:picMkLst>
        </pc:picChg>
        <pc:picChg chg="mod">
          <ac:chgData name="Washington Nascimento" userId="f3b9592a5eff0234" providerId="LiveId" clId="{68EB0348-4B5A-415A-BAB8-C66242503A24}" dt="2022-10-26T17:29:27.951" v="12"/>
          <ac:picMkLst>
            <pc:docMk/>
            <pc:sldMk cId="2064857369" sldId="256"/>
            <ac:picMk id="14" creationId="{32BB2EF3-DBE8-A4B8-C134-CD0E09171433}"/>
          </ac:picMkLst>
        </pc:picChg>
        <pc:picChg chg="mod">
          <ac:chgData name="Washington Nascimento" userId="f3b9592a5eff0234" providerId="LiveId" clId="{68EB0348-4B5A-415A-BAB8-C66242503A24}" dt="2022-10-26T17:29:27.951" v="12"/>
          <ac:picMkLst>
            <pc:docMk/>
            <pc:sldMk cId="2064857369" sldId="256"/>
            <ac:picMk id="15" creationId="{CD0C681B-9FF1-B546-B89D-220E31939441}"/>
          </ac:picMkLst>
        </pc:picChg>
        <pc:picChg chg="add del mod">
          <ac:chgData name="Washington Nascimento" userId="f3b9592a5eff0234" providerId="LiveId" clId="{68EB0348-4B5A-415A-BAB8-C66242503A24}" dt="2022-10-26T17:30:29.440" v="42" actId="478"/>
          <ac:picMkLst>
            <pc:docMk/>
            <pc:sldMk cId="2064857369" sldId="256"/>
            <ac:picMk id="16" creationId="{EE482633-8DFA-EFE3-07FF-7AA7BED956F1}"/>
          </ac:picMkLst>
        </pc:picChg>
        <pc:picChg chg="add del mod">
          <ac:chgData name="Washington Nascimento" userId="f3b9592a5eff0234" providerId="LiveId" clId="{68EB0348-4B5A-415A-BAB8-C66242503A24}" dt="2022-10-26T17:30:30.721" v="44"/>
          <ac:picMkLst>
            <pc:docMk/>
            <pc:sldMk cId="2064857369" sldId="256"/>
            <ac:picMk id="18" creationId="{416832BF-D9EA-F739-26D9-51F50A615B10}"/>
          </ac:picMkLst>
        </pc:picChg>
        <pc:picChg chg="add mod">
          <ac:chgData name="Washington Nascimento" userId="f3b9592a5eff0234" providerId="LiveId" clId="{68EB0348-4B5A-415A-BAB8-C66242503A24}" dt="2022-10-26T17:30:32.415" v="45"/>
          <ac:picMkLst>
            <pc:docMk/>
            <pc:sldMk cId="2064857369" sldId="256"/>
            <ac:picMk id="20" creationId="{E992B284-54B7-FC92-665A-F040AC033A9F}"/>
          </ac:picMkLst>
        </pc:picChg>
      </pc:sldChg>
      <pc:sldChg chg="modSp mod">
        <pc:chgData name="Washington Nascimento" userId="f3b9592a5eff0234" providerId="LiveId" clId="{68EB0348-4B5A-415A-BAB8-C66242503A24}" dt="2022-10-26T17:39:18.598" v="81" actId="207"/>
        <pc:sldMkLst>
          <pc:docMk/>
          <pc:sldMk cId="1951395890" sldId="399"/>
        </pc:sldMkLst>
        <pc:spChg chg="mod">
          <ac:chgData name="Washington Nascimento" userId="f3b9592a5eff0234" providerId="LiveId" clId="{68EB0348-4B5A-415A-BAB8-C66242503A24}" dt="2022-10-26T17:39:18.598" v="81" actId="207"/>
          <ac:spMkLst>
            <pc:docMk/>
            <pc:sldMk cId="1951395890" sldId="399"/>
            <ac:spMk id="116" creationId="{00000000-0000-0000-0000-000000000000}"/>
          </ac:spMkLst>
        </pc:spChg>
      </pc:sldChg>
      <pc:sldChg chg="modSp mod">
        <pc:chgData name="Washington Nascimento" userId="f3b9592a5eff0234" providerId="LiveId" clId="{68EB0348-4B5A-415A-BAB8-C66242503A24}" dt="2022-10-26T17:40:13.505" v="88" actId="5793"/>
        <pc:sldMkLst>
          <pc:docMk/>
          <pc:sldMk cId="1946785316" sldId="696"/>
        </pc:sldMkLst>
        <pc:spChg chg="mod">
          <ac:chgData name="Washington Nascimento" userId="f3b9592a5eff0234" providerId="LiveId" clId="{68EB0348-4B5A-415A-BAB8-C66242503A24}" dt="2022-10-26T17:39:36.695" v="87" actId="20577"/>
          <ac:spMkLst>
            <pc:docMk/>
            <pc:sldMk cId="1946785316" sldId="696"/>
            <ac:spMk id="5" creationId="{9115B5FF-F906-46DA-B523-E9F340326CF9}"/>
          </ac:spMkLst>
        </pc:spChg>
        <pc:spChg chg="mod">
          <ac:chgData name="Washington Nascimento" userId="f3b9592a5eff0234" providerId="LiveId" clId="{68EB0348-4B5A-415A-BAB8-C66242503A24}" dt="2022-10-26T17:40:13.505" v="88" actId="5793"/>
          <ac:spMkLst>
            <pc:docMk/>
            <pc:sldMk cId="1946785316" sldId="696"/>
            <ac:spMk id="10" creationId="{00E125C6-741E-4CFC-A3CC-D3BB30322696}"/>
          </ac:spMkLst>
        </pc:spChg>
      </pc:sldChg>
      <pc:sldChg chg="delSp modSp mod">
        <pc:chgData name="Washington Nascimento" userId="f3b9592a5eff0234" providerId="LiveId" clId="{68EB0348-4B5A-415A-BAB8-C66242503A24}" dt="2022-10-26T17:38:43.510" v="80" actId="478"/>
        <pc:sldMkLst>
          <pc:docMk/>
          <pc:sldMk cId="1949845392" sldId="10115"/>
        </pc:sldMkLst>
        <pc:spChg chg="del mod">
          <ac:chgData name="Washington Nascimento" userId="f3b9592a5eff0234" providerId="LiveId" clId="{68EB0348-4B5A-415A-BAB8-C66242503A24}" dt="2022-10-26T17:38:43.510" v="80" actId="478"/>
          <ac:spMkLst>
            <pc:docMk/>
            <pc:sldMk cId="1949845392" sldId="10115"/>
            <ac:spMk id="2" creationId="{221A6F7A-BEDD-4E6A-8B49-095062576606}"/>
          </ac:spMkLst>
        </pc:spChg>
      </pc:sldChg>
      <pc:sldChg chg="modSp mod">
        <pc:chgData name="Washington Nascimento" userId="f3b9592a5eff0234" providerId="LiveId" clId="{68EB0348-4B5A-415A-BAB8-C66242503A24}" dt="2022-10-26T17:38:09.220" v="77" actId="14100"/>
        <pc:sldMkLst>
          <pc:docMk/>
          <pc:sldMk cId="1772346703" sldId="10123"/>
        </pc:sldMkLst>
        <pc:spChg chg="mod">
          <ac:chgData name="Washington Nascimento" userId="f3b9592a5eff0234" providerId="LiveId" clId="{68EB0348-4B5A-415A-BAB8-C66242503A24}" dt="2022-10-26T17:37:48.439" v="67" actId="20577"/>
          <ac:spMkLst>
            <pc:docMk/>
            <pc:sldMk cId="1772346703" sldId="10123"/>
            <ac:spMk id="54" creationId="{FF5D5BB9-EF0D-EA34-BC6A-0517CF64F834}"/>
          </ac:spMkLst>
        </pc:spChg>
        <pc:spChg chg="mod">
          <ac:chgData name="Washington Nascimento" userId="f3b9592a5eff0234" providerId="LiveId" clId="{68EB0348-4B5A-415A-BAB8-C66242503A24}" dt="2022-10-26T17:37:56.112" v="70" actId="14100"/>
          <ac:spMkLst>
            <pc:docMk/>
            <pc:sldMk cId="1772346703" sldId="10123"/>
            <ac:spMk id="55" creationId="{4B582ABB-DA18-16F4-ACD6-0E0134FA0CEB}"/>
          </ac:spMkLst>
        </pc:spChg>
        <pc:spChg chg="mod">
          <ac:chgData name="Washington Nascimento" userId="f3b9592a5eff0234" providerId="LiveId" clId="{68EB0348-4B5A-415A-BAB8-C66242503A24}" dt="2022-10-26T17:38:02.974" v="74" actId="20577"/>
          <ac:spMkLst>
            <pc:docMk/>
            <pc:sldMk cId="1772346703" sldId="10123"/>
            <ac:spMk id="56" creationId="{794F94B4-3C6B-B2D8-722D-0F08E7E57A68}"/>
          </ac:spMkLst>
        </pc:spChg>
        <pc:spChg chg="mod">
          <ac:chgData name="Washington Nascimento" userId="f3b9592a5eff0234" providerId="LiveId" clId="{68EB0348-4B5A-415A-BAB8-C66242503A24}" dt="2022-10-26T17:38:09.220" v="77" actId="14100"/>
          <ac:spMkLst>
            <pc:docMk/>
            <pc:sldMk cId="1772346703" sldId="10123"/>
            <ac:spMk id="57" creationId="{6FEF0716-51D6-6E2B-9582-2D682A40D199}"/>
          </ac:spMkLst>
        </pc:spChg>
      </pc:sldChg>
      <pc:sldChg chg="modSp mod">
        <pc:chgData name="Washington Nascimento" userId="f3b9592a5eff0234" providerId="LiveId" clId="{68EB0348-4B5A-415A-BAB8-C66242503A24}" dt="2022-10-26T17:37:26.769" v="63" actId="20577"/>
        <pc:sldMkLst>
          <pc:docMk/>
          <pc:sldMk cId="2491226624" sldId="10124"/>
        </pc:sldMkLst>
        <pc:spChg chg="mod">
          <ac:chgData name="Washington Nascimento" userId="f3b9592a5eff0234" providerId="LiveId" clId="{68EB0348-4B5A-415A-BAB8-C66242503A24}" dt="2022-10-26T17:37:26.769" v="63" actId="20577"/>
          <ac:spMkLst>
            <pc:docMk/>
            <pc:sldMk cId="2491226624" sldId="10124"/>
            <ac:spMk id="2" creationId="{5F029A9C-CD6E-8C88-8F1B-79DBC3E183A7}"/>
          </ac:spMkLst>
        </pc:spChg>
      </pc:sldChg>
    </pc:docChg>
  </pc:docChgLst>
  <pc:docChgLst>
    <pc:chgData name="Washington Nascimento" userId="f3b9592a5eff0234" providerId="LiveId" clId="{90FBA1B0-DFE6-4AC9-A8F6-FE5B9D9B65FD}"/>
    <pc:docChg chg="undo custSel modSld">
      <pc:chgData name="Washington Nascimento" userId="f3b9592a5eff0234" providerId="LiveId" clId="{90FBA1B0-DFE6-4AC9-A8F6-FE5B9D9B65FD}" dt="2022-04-18T12:14:02.672" v="1" actId="22"/>
      <pc:docMkLst>
        <pc:docMk/>
      </pc:docMkLst>
      <pc:sldChg chg="addSp delSp mod">
        <pc:chgData name="Washington Nascimento" userId="f3b9592a5eff0234" providerId="LiveId" clId="{90FBA1B0-DFE6-4AC9-A8F6-FE5B9D9B65FD}" dt="2022-04-18T12:14:02.672" v="1" actId="22"/>
        <pc:sldMkLst>
          <pc:docMk/>
          <pc:sldMk cId="0" sldId="286"/>
        </pc:sldMkLst>
        <pc:spChg chg="add del">
          <ac:chgData name="Washington Nascimento" userId="f3b9592a5eff0234" providerId="LiveId" clId="{90FBA1B0-DFE6-4AC9-A8F6-FE5B9D9B65FD}" dt="2022-04-18T12:14:02.672" v="1" actId="22"/>
          <ac:spMkLst>
            <pc:docMk/>
            <pc:sldMk cId="0" sldId="286"/>
            <ac:spMk id="6" creationId="{8219E01E-4788-40D4-9D79-750922BBC699}"/>
          </ac:spMkLst>
        </pc:spChg>
      </pc:sldChg>
    </pc:docChg>
  </pc:docChgLst>
  <pc:docChgLst>
    <pc:chgData name="Washington Nascimento" userId="f3b9592a5eff0234" providerId="LiveId" clId="{FD02D532-6A69-490F-95BE-03600E714289}"/>
    <pc:docChg chg="undo custSel delSld modSld">
      <pc:chgData name="Washington Nascimento" userId="f3b9592a5eff0234" providerId="LiveId" clId="{FD02D532-6A69-490F-95BE-03600E714289}" dt="2023-04-03T13:51:59.831" v="2203" actId="20577"/>
      <pc:docMkLst>
        <pc:docMk/>
      </pc:docMkLst>
      <pc:sldChg chg="modSp mod">
        <pc:chgData name="Washington Nascimento" userId="f3b9592a5eff0234" providerId="LiveId" clId="{FD02D532-6A69-490F-95BE-03600E714289}" dt="2023-04-03T13:51:47.976" v="2194" actId="14100"/>
        <pc:sldMkLst>
          <pc:docMk/>
          <pc:sldMk cId="3960296033" sldId="680"/>
        </pc:sldMkLst>
        <pc:spChg chg="mod">
          <ac:chgData name="Washington Nascimento" userId="f3b9592a5eff0234" providerId="LiveId" clId="{FD02D532-6A69-490F-95BE-03600E714289}" dt="2023-04-03T13:51:47.976" v="2194" actId="14100"/>
          <ac:spMkLst>
            <pc:docMk/>
            <pc:sldMk cId="3960296033" sldId="680"/>
            <ac:spMk id="7" creationId="{FD173272-8660-FE4C-867D-8F39E29919B5}"/>
          </ac:spMkLst>
        </pc:spChg>
      </pc:sldChg>
      <pc:sldChg chg="modSp mod">
        <pc:chgData name="Washington Nascimento" userId="f3b9592a5eff0234" providerId="LiveId" clId="{FD02D532-6A69-490F-95BE-03600E714289}" dt="2023-04-03T13:51:59.831" v="2203" actId="20577"/>
        <pc:sldMkLst>
          <pc:docMk/>
          <pc:sldMk cId="3970300024" sldId="3135"/>
        </pc:sldMkLst>
        <pc:spChg chg="mod">
          <ac:chgData name="Washington Nascimento" userId="f3b9592a5eff0234" providerId="LiveId" clId="{FD02D532-6A69-490F-95BE-03600E714289}" dt="2023-04-03T13:51:59.831" v="2203" actId="20577"/>
          <ac:spMkLst>
            <pc:docMk/>
            <pc:sldMk cId="3970300024" sldId="3135"/>
            <ac:spMk id="2" creationId="{343968E7-F13B-4925-91B0-64684E489896}"/>
          </ac:spMkLst>
        </pc:spChg>
      </pc:sldChg>
      <pc:sldChg chg="del">
        <pc:chgData name="Washington Nascimento" userId="f3b9592a5eff0234" providerId="LiveId" clId="{FD02D532-6A69-490F-95BE-03600E714289}" dt="2023-04-03T13:12:53.648" v="0" actId="47"/>
        <pc:sldMkLst>
          <pc:docMk/>
          <pc:sldMk cId="2513042233" sldId="3391"/>
        </pc:sldMkLst>
      </pc:sldChg>
      <pc:sldChg chg="del">
        <pc:chgData name="Washington Nascimento" userId="f3b9592a5eff0234" providerId="LiveId" clId="{FD02D532-6A69-490F-95BE-03600E714289}" dt="2023-04-03T13:12:53.648" v="0" actId="47"/>
        <pc:sldMkLst>
          <pc:docMk/>
          <pc:sldMk cId="1049745715" sldId="3575"/>
        </pc:sldMkLst>
      </pc:sldChg>
      <pc:sldChg chg="del">
        <pc:chgData name="Washington Nascimento" userId="f3b9592a5eff0234" providerId="LiveId" clId="{FD02D532-6A69-490F-95BE-03600E714289}" dt="2023-04-03T13:48:07.311" v="2105" actId="47"/>
        <pc:sldMkLst>
          <pc:docMk/>
          <pc:sldMk cId="1949845392" sldId="10115"/>
        </pc:sldMkLst>
      </pc:sldChg>
      <pc:sldChg chg="del">
        <pc:chgData name="Washington Nascimento" userId="f3b9592a5eff0234" providerId="LiveId" clId="{FD02D532-6A69-490F-95BE-03600E714289}" dt="2023-04-03T13:18:59.072" v="1" actId="47"/>
        <pc:sldMkLst>
          <pc:docMk/>
          <pc:sldMk cId="1772346703" sldId="10123"/>
        </pc:sldMkLst>
      </pc:sldChg>
      <pc:sldChg chg="del">
        <pc:chgData name="Washington Nascimento" userId="f3b9592a5eff0234" providerId="LiveId" clId="{FD02D532-6A69-490F-95BE-03600E714289}" dt="2023-04-03T13:48:07.311" v="2105" actId="47"/>
        <pc:sldMkLst>
          <pc:docMk/>
          <pc:sldMk cId="2491226624" sldId="10124"/>
        </pc:sldMkLst>
      </pc:sldChg>
      <pc:sldChg chg="modSp mod">
        <pc:chgData name="Washington Nascimento" userId="f3b9592a5eff0234" providerId="LiveId" clId="{FD02D532-6A69-490F-95BE-03600E714289}" dt="2023-04-03T13:49:54.222" v="2121" actId="20577"/>
        <pc:sldMkLst>
          <pc:docMk/>
          <pc:sldMk cId="3331628522" sldId="2147310107"/>
        </pc:sldMkLst>
        <pc:spChg chg="mod">
          <ac:chgData name="Washington Nascimento" userId="f3b9592a5eff0234" providerId="LiveId" clId="{FD02D532-6A69-490F-95BE-03600E714289}" dt="2023-04-03T13:41:41.655" v="1516" actId="20577"/>
          <ac:spMkLst>
            <pc:docMk/>
            <pc:sldMk cId="3331628522" sldId="2147310107"/>
            <ac:spMk id="2" creationId="{96EF2777-1B68-44A7-B826-22212E044359}"/>
          </ac:spMkLst>
        </pc:spChg>
        <pc:spChg chg="mod">
          <ac:chgData name="Washington Nascimento" userId="f3b9592a5eff0234" providerId="LiveId" clId="{FD02D532-6A69-490F-95BE-03600E714289}" dt="2023-04-03T13:27:47.950" v="554" actId="20577"/>
          <ac:spMkLst>
            <pc:docMk/>
            <pc:sldMk cId="3331628522" sldId="2147310107"/>
            <ac:spMk id="3" creationId="{D95CD12D-CD99-4EEC-8C78-92408B4E3A6A}"/>
          </ac:spMkLst>
        </pc:spChg>
        <pc:spChg chg="mod">
          <ac:chgData name="Washington Nascimento" userId="f3b9592a5eff0234" providerId="LiveId" clId="{FD02D532-6A69-490F-95BE-03600E714289}" dt="2023-04-03T13:49:50.184" v="2107" actId="20577"/>
          <ac:spMkLst>
            <pc:docMk/>
            <pc:sldMk cId="3331628522" sldId="2147310107"/>
            <ac:spMk id="23" creationId="{EC16F2AA-2AC9-4EF3-B545-FCECF6C70657}"/>
          </ac:spMkLst>
        </pc:spChg>
        <pc:spChg chg="mod">
          <ac:chgData name="Washington Nascimento" userId="f3b9592a5eff0234" providerId="LiveId" clId="{FD02D532-6A69-490F-95BE-03600E714289}" dt="2023-04-03T13:49:54.222" v="2121" actId="20577"/>
          <ac:spMkLst>
            <pc:docMk/>
            <pc:sldMk cId="3331628522" sldId="2147310107"/>
            <ac:spMk id="38" creationId="{323AFCBD-27A6-4BB5-852C-7BA5B612E8C2}"/>
          </ac:spMkLst>
        </pc:spChg>
        <pc:spChg chg="mod">
          <ac:chgData name="Washington Nascimento" userId="f3b9592a5eff0234" providerId="LiveId" clId="{FD02D532-6A69-490F-95BE-03600E714289}" dt="2023-04-03T13:28:32.820" v="580" actId="1076"/>
          <ac:spMkLst>
            <pc:docMk/>
            <pc:sldMk cId="3331628522" sldId="2147310107"/>
            <ac:spMk id="100" creationId="{55D8E80C-6953-4222-9BB2-0D89520E793B}"/>
          </ac:spMkLst>
        </pc:spChg>
        <pc:spChg chg="mod">
          <ac:chgData name="Washington Nascimento" userId="f3b9592a5eff0234" providerId="LiveId" clId="{FD02D532-6A69-490F-95BE-03600E714289}" dt="2023-04-03T13:28:41.343" v="608" actId="122"/>
          <ac:spMkLst>
            <pc:docMk/>
            <pc:sldMk cId="3331628522" sldId="2147310107"/>
            <ac:spMk id="130" creationId="{34C39C83-54AA-46EA-A45C-E6038BD64E2C}"/>
          </ac:spMkLst>
        </pc:spChg>
      </pc:sldChg>
      <pc:sldChg chg="modSp mod">
        <pc:chgData name="Washington Nascimento" userId="f3b9592a5eff0234" providerId="LiveId" clId="{FD02D532-6A69-490F-95BE-03600E714289}" dt="2023-04-03T13:50:15.226" v="2135" actId="20577"/>
        <pc:sldMkLst>
          <pc:docMk/>
          <pc:sldMk cId="494391734" sldId="2147310108"/>
        </pc:sldMkLst>
        <pc:spChg chg="mod">
          <ac:chgData name="Washington Nascimento" userId="f3b9592a5eff0234" providerId="LiveId" clId="{FD02D532-6A69-490F-95BE-03600E714289}" dt="2023-04-03T13:41:46.364" v="1517"/>
          <ac:spMkLst>
            <pc:docMk/>
            <pc:sldMk cId="494391734" sldId="2147310108"/>
            <ac:spMk id="2" creationId="{96EF2777-1B68-44A7-B826-22212E044359}"/>
          </ac:spMkLst>
        </pc:spChg>
        <pc:spChg chg="mod">
          <ac:chgData name="Washington Nascimento" userId="f3b9592a5eff0234" providerId="LiveId" clId="{FD02D532-6A69-490F-95BE-03600E714289}" dt="2023-04-03T13:42:03.011" v="1522"/>
          <ac:spMkLst>
            <pc:docMk/>
            <pc:sldMk cId="494391734" sldId="2147310108"/>
            <ac:spMk id="3" creationId="{D95CD12D-CD99-4EEC-8C78-92408B4E3A6A}"/>
          </ac:spMkLst>
        </pc:spChg>
        <pc:spChg chg="mod">
          <ac:chgData name="Washington Nascimento" userId="f3b9592a5eff0234" providerId="LiveId" clId="{FD02D532-6A69-490F-95BE-03600E714289}" dt="2023-04-03T13:50:13.263" v="2133" actId="20577"/>
          <ac:spMkLst>
            <pc:docMk/>
            <pc:sldMk cId="494391734" sldId="2147310108"/>
            <ac:spMk id="23" creationId="{EC16F2AA-2AC9-4EF3-B545-FCECF6C70657}"/>
          </ac:spMkLst>
        </pc:spChg>
        <pc:spChg chg="mod">
          <ac:chgData name="Washington Nascimento" userId="f3b9592a5eff0234" providerId="LiveId" clId="{FD02D532-6A69-490F-95BE-03600E714289}" dt="2023-04-03T13:50:15.226" v="2135" actId="20577"/>
          <ac:spMkLst>
            <pc:docMk/>
            <pc:sldMk cId="494391734" sldId="2147310108"/>
            <ac:spMk id="24" creationId="{24999205-EFF8-400E-8FED-CAF8094FEA9A}"/>
          </ac:spMkLst>
        </pc:spChg>
        <pc:spChg chg="mod">
          <ac:chgData name="Washington Nascimento" userId="f3b9592a5eff0234" providerId="LiveId" clId="{FD02D532-6A69-490F-95BE-03600E714289}" dt="2023-04-03T13:30:16.507" v="647"/>
          <ac:spMkLst>
            <pc:docMk/>
            <pc:sldMk cId="494391734" sldId="2147310108"/>
            <ac:spMk id="47" creationId="{07FE1D81-102F-4DDB-8D7C-48BA1CF800F4}"/>
          </ac:spMkLst>
        </pc:spChg>
        <pc:spChg chg="mod">
          <ac:chgData name="Washington Nascimento" userId="f3b9592a5eff0234" providerId="LiveId" clId="{FD02D532-6A69-490F-95BE-03600E714289}" dt="2023-04-03T13:50:10.983" v="2131" actId="20577"/>
          <ac:spMkLst>
            <pc:docMk/>
            <pc:sldMk cId="494391734" sldId="2147310108"/>
            <ac:spMk id="48" creationId="{EF1AA12F-89AA-4778-BB6E-BB0412FAA446}"/>
          </ac:spMkLst>
        </pc:spChg>
        <pc:spChg chg="mod">
          <ac:chgData name="Washington Nascimento" userId="f3b9592a5eff0234" providerId="LiveId" clId="{FD02D532-6A69-490F-95BE-03600E714289}" dt="2023-04-03T13:33:52.243" v="902" actId="1076"/>
          <ac:spMkLst>
            <pc:docMk/>
            <pc:sldMk cId="494391734" sldId="2147310108"/>
            <ac:spMk id="100" creationId="{55D8E80C-6953-4222-9BB2-0D89520E793B}"/>
          </ac:spMkLst>
        </pc:spChg>
        <pc:spChg chg="mod">
          <ac:chgData name="Washington Nascimento" userId="f3b9592a5eff0234" providerId="LiveId" clId="{FD02D532-6A69-490F-95BE-03600E714289}" dt="2023-04-03T13:29:48.847" v="637" actId="122"/>
          <ac:spMkLst>
            <pc:docMk/>
            <pc:sldMk cId="494391734" sldId="2147310108"/>
            <ac:spMk id="130" creationId="{34C39C83-54AA-46EA-A45C-E6038BD64E2C}"/>
          </ac:spMkLst>
        </pc:spChg>
        <pc:spChg chg="mod">
          <ac:chgData name="Washington Nascimento" userId="f3b9592a5eff0234" providerId="LiveId" clId="{FD02D532-6A69-490F-95BE-03600E714289}" dt="2023-04-03T13:30:23.118" v="663" actId="122"/>
          <ac:spMkLst>
            <pc:docMk/>
            <pc:sldMk cId="494391734" sldId="2147310108"/>
            <ac:spMk id="137" creationId="{FA8A9713-FF3F-4BF9-81F7-181D7D53CA51}"/>
          </ac:spMkLst>
        </pc:spChg>
      </pc:sldChg>
      <pc:sldChg chg="modSp mod">
        <pc:chgData name="Washington Nascimento" userId="f3b9592a5eff0234" providerId="LiveId" clId="{FD02D532-6A69-490F-95BE-03600E714289}" dt="2023-04-03T13:50:30.527" v="2143" actId="6549"/>
        <pc:sldMkLst>
          <pc:docMk/>
          <pc:sldMk cId="1216570884" sldId="2147310109"/>
        </pc:sldMkLst>
        <pc:spChg chg="mod">
          <ac:chgData name="Washington Nascimento" userId="f3b9592a5eff0234" providerId="LiveId" clId="{FD02D532-6A69-490F-95BE-03600E714289}" dt="2023-04-03T13:41:48.844" v="1518"/>
          <ac:spMkLst>
            <pc:docMk/>
            <pc:sldMk cId="1216570884" sldId="2147310109"/>
            <ac:spMk id="2" creationId="{96EF2777-1B68-44A7-B826-22212E044359}"/>
          </ac:spMkLst>
        </pc:spChg>
        <pc:spChg chg="mod">
          <ac:chgData name="Washington Nascimento" userId="f3b9592a5eff0234" providerId="LiveId" clId="{FD02D532-6A69-490F-95BE-03600E714289}" dt="2023-04-03T13:42:06.387" v="1523"/>
          <ac:spMkLst>
            <pc:docMk/>
            <pc:sldMk cId="1216570884" sldId="2147310109"/>
            <ac:spMk id="3" creationId="{D95CD12D-CD99-4EEC-8C78-92408B4E3A6A}"/>
          </ac:spMkLst>
        </pc:spChg>
        <pc:spChg chg="mod">
          <ac:chgData name="Washington Nascimento" userId="f3b9592a5eff0234" providerId="LiveId" clId="{FD02D532-6A69-490F-95BE-03600E714289}" dt="2023-04-03T13:50:28.439" v="2142" actId="1037"/>
          <ac:spMkLst>
            <pc:docMk/>
            <pc:sldMk cId="1216570884" sldId="2147310109"/>
            <ac:spMk id="23" creationId="{EC16F2AA-2AC9-4EF3-B545-FCECF6C70657}"/>
          </ac:spMkLst>
        </pc:spChg>
        <pc:spChg chg="mod">
          <ac:chgData name="Washington Nascimento" userId="f3b9592a5eff0234" providerId="LiveId" clId="{FD02D532-6A69-490F-95BE-03600E714289}" dt="2023-04-03T13:50:23.911" v="2139" actId="122"/>
          <ac:spMkLst>
            <pc:docMk/>
            <pc:sldMk cId="1216570884" sldId="2147310109"/>
            <ac:spMk id="24" creationId="{24999205-EFF8-400E-8FED-CAF8094FEA9A}"/>
          </ac:spMkLst>
        </pc:spChg>
        <pc:spChg chg="mod">
          <ac:chgData name="Washington Nascimento" userId="f3b9592a5eff0234" providerId="LiveId" clId="{FD02D532-6A69-490F-95BE-03600E714289}" dt="2023-04-03T13:50:30.527" v="2143" actId="6549"/>
          <ac:spMkLst>
            <pc:docMk/>
            <pc:sldMk cId="1216570884" sldId="2147310109"/>
            <ac:spMk id="25" creationId="{DDF506DC-ED55-43AF-A163-E176F888BB7C}"/>
          </ac:spMkLst>
        </pc:spChg>
        <pc:spChg chg="mod">
          <ac:chgData name="Washington Nascimento" userId="f3b9592a5eff0234" providerId="LiveId" clId="{FD02D532-6A69-490F-95BE-03600E714289}" dt="2023-04-03T13:34:11.767" v="908" actId="14100"/>
          <ac:spMkLst>
            <pc:docMk/>
            <pc:sldMk cId="1216570884" sldId="2147310109"/>
            <ac:spMk id="63" creationId="{1E1E8191-F36A-4C40-A8C3-C519351FA45B}"/>
          </ac:spMkLst>
        </pc:spChg>
        <pc:spChg chg="mod">
          <ac:chgData name="Washington Nascimento" userId="f3b9592a5eff0234" providerId="LiveId" clId="{FD02D532-6A69-490F-95BE-03600E714289}" dt="2023-04-03T13:32:25.775" v="813" actId="20577"/>
          <ac:spMkLst>
            <pc:docMk/>
            <pc:sldMk cId="1216570884" sldId="2147310109"/>
            <ac:spMk id="64" creationId="{608787E0-949F-4DF5-AFB4-BB0534D63E1F}"/>
          </ac:spMkLst>
        </pc:spChg>
        <pc:spChg chg="mod">
          <ac:chgData name="Washington Nascimento" userId="f3b9592a5eff0234" providerId="LiveId" clId="{FD02D532-6A69-490F-95BE-03600E714289}" dt="2023-04-03T13:32:14.199" v="784" actId="20577"/>
          <ac:spMkLst>
            <pc:docMk/>
            <pc:sldMk cId="1216570884" sldId="2147310109"/>
            <ac:spMk id="65" creationId="{17C351FB-43D1-4747-A69D-1BA903CB6B4C}"/>
          </ac:spMkLst>
        </pc:spChg>
        <pc:spChg chg="mod">
          <ac:chgData name="Washington Nascimento" userId="f3b9592a5eff0234" providerId="LiveId" clId="{FD02D532-6A69-490F-95BE-03600E714289}" dt="2023-04-03T13:33:57.051" v="904" actId="1076"/>
          <ac:spMkLst>
            <pc:docMk/>
            <pc:sldMk cId="1216570884" sldId="2147310109"/>
            <ac:spMk id="100" creationId="{55D8E80C-6953-4222-9BB2-0D89520E793B}"/>
          </ac:spMkLst>
        </pc:spChg>
        <pc:spChg chg="mod">
          <ac:chgData name="Washington Nascimento" userId="f3b9592a5eff0234" providerId="LiveId" clId="{FD02D532-6A69-490F-95BE-03600E714289}" dt="2023-04-03T13:31:40.807" v="722" actId="20577"/>
          <ac:spMkLst>
            <pc:docMk/>
            <pc:sldMk cId="1216570884" sldId="2147310109"/>
            <ac:spMk id="106" creationId="{90EA210E-619F-40B9-AC87-2F8BE76EE7E0}"/>
          </ac:spMkLst>
        </pc:spChg>
        <pc:spChg chg="mod">
          <ac:chgData name="Washington Nascimento" userId="f3b9592a5eff0234" providerId="LiveId" clId="{FD02D532-6A69-490F-95BE-03600E714289}" dt="2023-04-03T13:31:30.538" v="716"/>
          <ac:spMkLst>
            <pc:docMk/>
            <pc:sldMk cId="1216570884" sldId="2147310109"/>
            <ac:spMk id="107" creationId="{3C731D0A-D390-4117-9E8A-A862B965DD47}"/>
          </ac:spMkLst>
        </pc:spChg>
        <pc:spChg chg="mod">
          <ac:chgData name="Washington Nascimento" userId="f3b9592a5eff0234" providerId="LiveId" clId="{FD02D532-6A69-490F-95BE-03600E714289}" dt="2023-04-03T13:32:22.320" v="803" actId="20577"/>
          <ac:spMkLst>
            <pc:docMk/>
            <pc:sldMk cId="1216570884" sldId="2147310109"/>
            <ac:spMk id="115" creationId="{7889CAAE-BA33-4B0E-803D-7BC7864BFD8F}"/>
          </ac:spMkLst>
        </pc:spChg>
        <pc:spChg chg="mod">
          <ac:chgData name="Washington Nascimento" userId="f3b9592a5eff0234" providerId="LiveId" clId="{FD02D532-6A69-490F-95BE-03600E714289}" dt="2023-04-03T13:31:07.344" v="708" actId="122"/>
          <ac:spMkLst>
            <pc:docMk/>
            <pc:sldMk cId="1216570884" sldId="2147310109"/>
            <ac:spMk id="130" creationId="{34C39C83-54AA-46EA-A45C-E6038BD64E2C}"/>
          </ac:spMkLst>
        </pc:spChg>
        <pc:spChg chg="mod">
          <ac:chgData name="Washington Nascimento" userId="f3b9592a5eff0234" providerId="LiveId" clId="{FD02D532-6A69-490F-95BE-03600E714289}" dt="2023-04-03T13:31:50.590" v="746" actId="20577"/>
          <ac:spMkLst>
            <pc:docMk/>
            <pc:sldMk cId="1216570884" sldId="2147310109"/>
            <ac:spMk id="138" creationId="{D8A91138-4CDB-4FA8-8D55-1C98A3D598CF}"/>
          </ac:spMkLst>
        </pc:spChg>
      </pc:sldChg>
      <pc:sldChg chg="modSp mod">
        <pc:chgData name="Washington Nascimento" userId="f3b9592a5eff0234" providerId="LiveId" clId="{FD02D532-6A69-490F-95BE-03600E714289}" dt="2023-04-03T13:50:37.071" v="2145" actId="20577"/>
        <pc:sldMkLst>
          <pc:docMk/>
          <pc:sldMk cId="1519585968" sldId="2147310110"/>
        </pc:sldMkLst>
        <pc:spChg chg="mod">
          <ac:chgData name="Washington Nascimento" userId="f3b9592a5eff0234" providerId="LiveId" clId="{FD02D532-6A69-490F-95BE-03600E714289}" dt="2023-04-03T13:41:51.130" v="1519"/>
          <ac:spMkLst>
            <pc:docMk/>
            <pc:sldMk cId="1519585968" sldId="2147310110"/>
            <ac:spMk id="2" creationId="{96EF2777-1B68-44A7-B826-22212E044359}"/>
          </ac:spMkLst>
        </pc:spChg>
        <pc:spChg chg="mod">
          <ac:chgData name="Washington Nascimento" userId="f3b9592a5eff0234" providerId="LiveId" clId="{FD02D532-6A69-490F-95BE-03600E714289}" dt="2023-04-03T13:42:08.940" v="1524"/>
          <ac:spMkLst>
            <pc:docMk/>
            <pc:sldMk cId="1519585968" sldId="2147310110"/>
            <ac:spMk id="3" creationId="{D95CD12D-CD99-4EEC-8C78-92408B4E3A6A}"/>
          </ac:spMkLst>
        </pc:spChg>
        <pc:spChg chg="mod">
          <ac:chgData name="Washington Nascimento" userId="f3b9592a5eff0234" providerId="LiveId" clId="{FD02D532-6A69-490F-95BE-03600E714289}" dt="2023-04-03T13:33:15.211" v="867" actId="122"/>
          <ac:spMkLst>
            <pc:docMk/>
            <pc:sldMk cId="1519585968" sldId="2147310110"/>
            <ac:spMk id="23" creationId="{EC16F2AA-2AC9-4EF3-B545-FCECF6C70657}"/>
          </ac:spMkLst>
        </pc:spChg>
        <pc:spChg chg="mod">
          <ac:chgData name="Washington Nascimento" userId="f3b9592a5eff0234" providerId="LiveId" clId="{FD02D532-6A69-490F-95BE-03600E714289}" dt="2023-04-03T13:32:58.111" v="836" actId="122"/>
          <ac:spMkLst>
            <pc:docMk/>
            <pc:sldMk cId="1519585968" sldId="2147310110"/>
            <ac:spMk id="24" creationId="{24999205-EFF8-400E-8FED-CAF8094FEA9A}"/>
          </ac:spMkLst>
        </pc:spChg>
        <pc:spChg chg="mod">
          <ac:chgData name="Washington Nascimento" userId="f3b9592a5eff0234" providerId="LiveId" clId="{FD02D532-6A69-490F-95BE-03600E714289}" dt="2023-04-03T13:32:50.951" v="825" actId="122"/>
          <ac:spMkLst>
            <pc:docMk/>
            <pc:sldMk cId="1519585968" sldId="2147310110"/>
            <ac:spMk id="25" creationId="{DDF506DC-ED55-43AF-A163-E176F888BB7C}"/>
          </ac:spMkLst>
        </pc:spChg>
        <pc:spChg chg="mod">
          <ac:chgData name="Washington Nascimento" userId="f3b9592a5eff0234" providerId="LiveId" clId="{FD02D532-6A69-490F-95BE-03600E714289}" dt="2023-04-03T13:50:37.071" v="2145" actId="20577"/>
          <ac:spMkLst>
            <pc:docMk/>
            <pc:sldMk cId="1519585968" sldId="2147310110"/>
            <ac:spMk id="26" creationId="{90BC6594-679A-495D-B0C0-232EE1B1C0BC}"/>
          </ac:spMkLst>
        </pc:spChg>
        <pc:spChg chg="mod">
          <ac:chgData name="Washington Nascimento" userId="f3b9592a5eff0234" providerId="LiveId" clId="{FD02D532-6A69-490F-95BE-03600E714289}" dt="2023-04-03T13:34:55.111" v="1006" actId="20577"/>
          <ac:spMkLst>
            <pc:docMk/>
            <pc:sldMk cId="1519585968" sldId="2147310110"/>
            <ac:spMk id="74" creationId="{836E5A6F-82E9-4176-866B-B79C73EE31F1}"/>
          </ac:spMkLst>
        </pc:spChg>
        <pc:spChg chg="mod">
          <ac:chgData name="Washington Nascimento" userId="f3b9592a5eff0234" providerId="LiveId" clId="{FD02D532-6A69-490F-95BE-03600E714289}" dt="2023-04-03T13:34:20.442" v="911" actId="1076"/>
          <ac:spMkLst>
            <pc:docMk/>
            <pc:sldMk cId="1519585968" sldId="2147310110"/>
            <ac:spMk id="78" creationId="{3B0FA54A-BEA0-48EB-B433-8AB0749B548C}"/>
          </ac:spMkLst>
        </pc:spChg>
        <pc:spChg chg="mod">
          <ac:chgData name="Washington Nascimento" userId="f3b9592a5eff0234" providerId="LiveId" clId="{FD02D532-6A69-490F-95BE-03600E714289}" dt="2023-04-03T13:33:30.311" v="898" actId="20577"/>
          <ac:spMkLst>
            <pc:docMk/>
            <pc:sldMk cId="1519585968" sldId="2147310110"/>
            <ac:spMk id="98" creationId="{364F3034-6B52-4EFC-AA64-7B99B6A3D4EC}"/>
          </ac:spMkLst>
        </pc:spChg>
        <pc:spChg chg="mod">
          <ac:chgData name="Washington Nascimento" userId="f3b9592a5eff0234" providerId="LiveId" clId="{FD02D532-6A69-490F-95BE-03600E714289}" dt="2023-04-03T13:33:27.102" v="888" actId="20577"/>
          <ac:spMkLst>
            <pc:docMk/>
            <pc:sldMk cId="1519585968" sldId="2147310110"/>
            <ac:spMk id="99" creationId="{951F441E-B897-4567-A9D8-A798B8251687}"/>
          </ac:spMkLst>
        </pc:spChg>
        <pc:spChg chg="mod">
          <ac:chgData name="Washington Nascimento" userId="f3b9592a5eff0234" providerId="LiveId" clId="{FD02D532-6A69-490F-95BE-03600E714289}" dt="2023-04-03T13:34:09.108" v="907" actId="1076"/>
          <ac:spMkLst>
            <pc:docMk/>
            <pc:sldMk cId="1519585968" sldId="2147310110"/>
            <ac:spMk id="100" creationId="{55D8E80C-6953-4222-9BB2-0D89520E793B}"/>
          </ac:spMkLst>
        </pc:spChg>
        <pc:spChg chg="mod">
          <ac:chgData name="Washington Nascimento" userId="f3b9592a5eff0234" providerId="LiveId" clId="{FD02D532-6A69-490F-95BE-03600E714289}" dt="2023-04-03T13:34:42.136" v="972" actId="20577"/>
          <ac:spMkLst>
            <pc:docMk/>
            <pc:sldMk cId="1519585968" sldId="2147310110"/>
            <ac:spMk id="106" creationId="{90EA210E-619F-40B9-AC87-2F8BE76EE7E0}"/>
          </ac:spMkLst>
        </pc:spChg>
        <pc:spChg chg="mod">
          <ac:chgData name="Washington Nascimento" userId="f3b9592a5eff0234" providerId="LiveId" clId="{FD02D532-6A69-490F-95BE-03600E714289}" dt="2023-04-03T13:32:38.655" v="814"/>
          <ac:spMkLst>
            <pc:docMk/>
            <pc:sldMk cId="1519585968" sldId="2147310110"/>
            <ac:spMk id="107" creationId="{3C731D0A-D390-4117-9E8A-A862B965DD47}"/>
          </ac:spMkLst>
        </pc:spChg>
        <pc:spChg chg="mod">
          <ac:chgData name="Washington Nascimento" userId="f3b9592a5eff0234" providerId="LiveId" clId="{FD02D532-6A69-490F-95BE-03600E714289}" dt="2023-04-03T13:34:46.440" v="984" actId="122"/>
          <ac:spMkLst>
            <pc:docMk/>
            <pc:sldMk cId="1519585968" sldId="2147310110"/>
            <ac:spMk id="108" creationId="{669596C1-3EF8-47CD-8B58-31123E7CA5FE}"/>
          </ac:spMkLst>
        </pc:spChg>
        <pc:spChg chg="mod">
          <ac:chgData name="Washington Nascimento" userId="f3b9592a5eff0234" providerId="LiveId" clId="{FD02D532-6A69-490F-95BE-03600E714289}" dt="2023-04-03T13:35:21.349" v="1027"/>
          <ac:spMkLst>
            <pc:docMk/>
            <pc:sldMk cId="1519585968" sldId="2147310110"/>
            <ac:spMk id="109" creationId="{1B340202-96DA-4DEF-A79A-F719C23B1A1B}"/>
          </ac:spMkLst>
        </pc:spChg>
        <pc:spChg chg="mod">
          <ac:chgData name="Washington Nascimento" userId="f3b9592a5eff0234" providerId="LiveId" clId="{FD02D532-6A69-490F-95BE-03600E714289}" dt="2023-04-03T13:33:03.471" v="857" actId="20577"/>
          <ac:spMkLst>
            <pc:docMk/>
            <pc:sldMk cId="1519585968" sldId="2147310110"/>
            <ac:spMk id="115" creationId="{7889CAAE-BA33-4B0E-803D-7BC7864BFD8F}"/>
          </ac:spMkLst>
        </pc:spChg>
        <pc:spChg chg="mod">
          <ac:chgData name="Washington Nascimento" userId="f3b9592a5eff0234" providerId="LiveId" clId="{FD02D532-6A69-490F-95BE-03600E714289}" dt="2023-04-03T13:34:59.751" v="1017" actId="20577"/>
          <ac:spMkLst>
            <pc:docMk/>
            <pc:sldMk cId="1519585968" sldId="2147310110"/>
            <ac:spMk id="119" creationId="{E7652786-2024-45D6-BF56-93288ACF5FFC}"/>
          </ac:spMkLst>
        </pc:spChg>
        <pc:spChg chg="mod">
          <ac:chgData name="Washington Nascimento" userId="f3b9592a5eff0234" providerId="LiveId" clId="{FD02D532-6A69-490F-95BE-03600E714289}" dt="2023-04-03T13:34:25.950" v="931" actId="122"/>
          <ac:spMkLst>
            <pc:docMk/>
            <pc:sldMk cId="1519585968" sldId="2147310110"/>
            <ac:spMk id="130" creationId="{34C39C83-54AA-46EA-A45C-E6038BD64E2C}"/>
          </ac:spMkLst>
        </pc:spChg>
        <pc:spChg chg="mod">
          <ac:chgData name="Washington Nascimento" userId="f3b9592a5eff0234" providerId="LiveId" clId="{FD02D532-6A69-490F-95BE-03600E714289}" dt="2023-04-03T13:34:34.102" v="955" actId="20577"/>
          <ac:spMkLst>
            <pc:docMk/>
            <pc:sldMk cId="1519585968" sldId="2147310110"/>
            <ac:spMk id="138" creationId="{D8A91138-4CDB-4FA8-8D55-1C98A3D598CF}"/>
          </ac:spMkLst>
        </pc:spChg>
      </pc:sldChg>
      <pc:sldChg chg="modSp mod">
        <pc:chgData name="Washington Nascimento" userId="f3b9592a5eff0234" providerId="LiveId" clId="{FD02D532-6A69-490F-95BE-03600E714289}" dt="2023-04-03T13:50:47.711" v="2149" actId="20577"/>
        <pc:sldMkLst>
          <pc:docMk/>
          <pc:sldMk cId="3143575955" sldId="2147310112"/>
        </pc:sldMkLst>
        <pc:spChg chg="mod">
          <ac:chgData name="Washington Nascimento" userId="f3b9592a5eff0234" providerId="LiveId" clId="{FD02D532-6A69-490F-95BE-03600E714289}" dt="2023-04-03T13:41:53.523" v="1520"/>
          <ac:spMkLst>
            <pc:docMk/>
            <pc:sldMk cId="3143575955" sldId="2147310112"/>
            <ac:spMk id="2" creationId="{96EF2777-1B68-44A7-B826-22212E044359}"/>
          </ac:spMkLst>
        </pc:spChg>
        <pc:spChg chg="mod">
          <ac:chgData name="Washington Nascimento" userId="f3b9592a5eff0234" providerId="LiveId" clId="{FD02D532-6A69-490F-95BE-03600E714289}" dt="2023-04-03T13:42:11.746" v="1525"/>
          <ac:spMkLst>
            <pc:docMk/>
            <pc:sldMk cId="3143575955" sldId="2147310112"/>
            <ac:spMk id="3" creationId="{D95CD12D-CD99-4EEC-8C78-92408B4E3A6A}"/>
          </ac:spMkLst>
        </pc:spChg>
        <pc:spChg chg="mod">
          <ac:chgData name="Washington Nascimento" userId="f3b9592a5eff0234" providerId="LiveId" clId="{FD02D532-6A69-490F-95BE-03600E714289}" dt="2023-04-03T13:42:20.731" v="1540" actId="404"/>
          <ac:spMkLst>
            <pc:docMk/>
            <pc:sldMk cId="3143575955" sldId="2147310112"/>
            <ac:spMk id="6" creationId="{A635E71F-33FC-4DFA-A7E3-982794CDA375}"/>
          </ac:spMkLst>
        </pc:spChg>
        <pc:spChg chg="mod">
          <ac:chgData name="Washington Nascimento" userId="f3b9592a5eff0234" providerId="LiveId" clId="{FD02D532-6A69-490F-95BE-03600E714289}" dt="2023-04-03T13:50:42.920" v="2147" actId="20577"/>
          <ac:spMkLst>
            <pc:docMk/>
            <pc:sldMk cId="3143575955" sldId="2147310112"/>
            <ac:spMk id="23" creationId="{EC16F2AA-2AC9-4EF3-B545-FCECF6C70657}"/>
          </ac:spMkLst>
        </pc:spChg>
        <pc:spChg chg="mod">
          <ac:chgData name="Washington Nascimento" userId="f3b9592a5eff0234" providerId="LiveId" clId="{FD02D532-6A69-490F-95BE-03600E714289}" dt="2023-04-03T13:50:47.711" v="2149" actId="20577"/>
          <ac:spMkLst>
            <pc:docMk/>
            <pc:sldMk cId="3143575955" sldId="2147310112"/>
            <ac:spMk id="24" creationId="{24999205-EFF8-400E-8FED-CAF8094FEA9A}"/>
          </ac:spMkLst>
        </pc:spChg>
        <pc:spChg chg="mod">
          <ac:chgData name="Washington Nascimento" userId="f3b9592a5eff0234" providerId="LiveId" clId="{FD02D532-6A69-490F-95BE-03600E714289}" dt="2023-04-03T13:36:54.328" v="1139" actId="122"/>
          <ac:spMkLst>
            <pc:docMk/>
            <pc:sldMk cId="3143575955" sldId="2147310112"/>
            <ac:spMk id="25" creationId="{DDF506DC-ED55-43AF-A163-E176F888BB7C}"/>
          </ac:spMkLst>
        </pc:spChg>
        <pc:spChg chg="mod">
          <ac:chgData name="Washington Nascimento" userId="f3b9592a5eff0234" providerId="LiveId" clId="{FD02D532-6A69-490F-95BE-03600E714289}" dt="2023-04-03T13:37:04.310" v="1149" actId="122"/>
          <ac:spMkLst>
            <pc:docMk/>
            <pc:sldMk cId="3143575955" sldId="2147310112"/>
            <ac:spMk id="26" creationId="{90BC6594-679A-495D-B0C0-232EE1B1C0BC}"/>
          </ac:spMkLst>
        </pc:spChg>
        <pc:spChg chg="mod">
          <ac:chgData name="Washington Nascimento" userId="f3b9592a5eff0234" providerId="LiveId" clId="{FD02D532-6A69-490F-95BE-03600E714289}" dt="2023-04-03T13:39:04.855" v="1320" actId="113"/>
          <ac:spMkLst>
            <pc:docMk/>
            <pc:sldMk cId="3143575955" sldId="2147310112"/>
            <ac:spMk id="98" creationId="{DAE0C99C-68A5-4ACE-B820-223E534F728F}"/>
          </ac:spMkLst>
        </pc:spChg>
        <pc:spChg chg="mod">
          <ac:chgData name="Washington Nascimento" userId="f3b9592a5eff0234" providerId="LiveId" clId="{FD02D532-6A69-490F-95BE-03600E714289}" dt="2023-04-03T13:37:51.370" v="1225" actId="1076"/>
          <ac:spMkLst>
            <pc:docMk/>
            <pc:sldMk cId="3143575955" sldId="2147310112"/>
            <ac:spMk id="100" creationId="{55D8E80C-6953-4222-9BB2-0D89520E793B}"/>
          </ac:spMkLst>
        </pc:spChg>
        <pc:spChg chg="mod">
          <ac:chgData name="Washington Nascimento" userId="f3b9592a5eff0234" providerId="LiveId" clId="{FD02D532-6A69-490F-95BE-03600E714289}" dt="2023-04-03T13:36:01.303" v="1058" actId="20577"/>
          <ac:spMkLst>
            <pc:docMk/>
            <pc:sldMk cId="3143575955" sldId="2147310112"/>
            <ac:spMk id="103" creationId="{542BFDA5-CC2E-4FD9-A531-559AC2D10D28}"/>
          </ac:spMkLst>
        </pc:spChg>
        <pc:spChg chg="mod">
          <ac:chgData name="Washington Nascimento" userId="f3b9592a5eff0234" providerId="LiveId" clId="{FD02D532-6A69-490F-95BE-03600E714289}" dt="2023-04-03T13:36:36.663" v="1107" actId="20577"/>
          <ac:spMkLst>
            <pc:docMk/>
            <pc:sldMk cId="3143575955" sldId="2147310112"/>
            <ac:spMk id="106" creationId="{90EA210E-619F-40B9-AC87-2F8BE76EE7E0}"/>
          </ac:spMkLst>
        </pc:spChg>
        <pc:spChg chg="mod">
          <ac:chgData name="Washington Nascimento" userId="f3b9592a5eff0234" providerId="LiveId" clId="{FD02D532-6A69-490F-95BE-03600E714289}" dt="2023-04-03T13:37:19.724" v="1171"/>
          <ac:spMkLst>
            <pc:docMk/>
            <pc:sldMk cId="3143575955" sldId="2147310112"/>
            <ac:spMk id="107" creationId="{3C731D0A-D390-4117-9E8A-A862B965DD47}"/>
          </ac:spMkLst>
        </pc:spChg>
        <pc:spChg chg="mod">
          <ac:chgData name="Washington Nascimento" userId="f3b9592a5eff0234" providerId="LiveId" clId="{FD02D532-6A69-490F-95BE-03600E714289}" dt="2023-04-03T13:36:33.888" v="1101" actId="122"/>
          <ac:spMkLst>
            <pc:docMk/>
            <pc:sldMk cId="3143575955" sldId="2147310112"/>
            <ac:spMk id="108" creationId="{669596C1-3EF8-47CD-8B58-31123E7CA5FE}"/>
          </ac:spMkLst>
        </pc:spChg>
        <pc:spChg chg="mod">
          <ac:chgData name="Washington Nascimento" userId="f3b9592a5eff0234" providerId="LiveId" clId="{FD02D532-6A69-490F-95BE-03600E714289}" dt="2023-04-03T13:35:27.211" v="1028"/>
          <ac:spMkLst>
            <pc:docMk/>
            <pc:sldMk cId="3143575955" sldId="2147310112"/>
            <ac:spMk id="109" creationId="{1B340202-96DA-4DEF-A79A-F719C23B1A1B}"/>
          </ac:spMkLst>
        </pc:spChg>
        <pc:spChg chg="mod">
          <ac:chgData name="Washington Nascimento" userId="f3b9592a5eff0234" providerId="LiveId" clId="{FD02D532-6A69-490F-95BE-03600E714289}" dt="2023-04-03T13:37:42.998" v="1222" actId="20577"/>
          <ac:spMkLst>
            <pc:docMk/>
            <pc:sldMk cId="3143575955" sldId="2147310112"/>
            <ac:spMk id="115" creationId="{7889CAAE-BA33-4B0E-803D-7BC7864BFD8F}"/>
          </ac:spMkLst>
        </pc:spChg>
        <pc:spChg chg="mod">
          <ac:chgData name="Washington Nascimento" userId="f3b9592a5eff0234" providerId="LiveId" clId="{FD02D532-6A69-490F-95BE-03600E714289}" dt="2023-04-03T13:36:16.246" v="1079" actId="20577"/>
          <ac:spMkLst>
            <pc:docMk/>
            <pc:sldMk cId="3143575955" sldId="2147310112"/>
            <ac:spMk id="119" creationId="{E7652786-2024-45D6-BF56-93288ACF5FFC}"/>
          </ac:spMkLst>
        </pc:spChg>
        <pc:spChg chg="mod">
          <ac:chgData name="Washington Nascimento" userId="f3b9592a5eff0234" providerId="LiveId" clId="{FD02D532-6A69-490F-95BE-03600E714289}" dt="2023-04-03T13:37:56.678" v="1245" actId="122"/>
          <ac:spMkLst>
            <pc:docMk/>
            <pc:sldMk cId="3143575955" sldId="2147310112"/>
            <ac:spMk id="130" creationId="{34C39C83-54AA-46EA-A45C-E6038BD64E2C}"/>
          </ac:spMkLst>
        </pc:spChg>
        <pc:spChg chg="mod">
          <ac:chgData name="Washington Nascimento" userId="f3b9592a5eff0234" providerId="LiveId" clId="{FD02D532-6A69-490F-95BE-03600E714289}" dt="2023-04-03T13:37:28.431" v="1174" actId="1076"/>
          <ac:spMkLst>
            <pc:docMk/>
            <pc:sldMk cId="3143575955" sldId="2147310112"/>
            <ac:spMk id="134" creationId="{B59D22AA-235D-47C7-BBBF-015ABD29B855}"/>
          </ac:spMkLst>
        </pc:spChg>
        <pc:spChg chg="mod">
          <ac:chgData name="Washington Nascimento" userId="f3b9592a5eff0234" providerId="LiveId" clId="{FD02D532-6A69-490F-95BE-03600E714289}" dt="2023-04-03T13:38:07.391" v="1264" actId="20577"/>
          <ac:spMkLst>
            <pc:docMk/>
            <pc:sldMk cId="3143575955" sldId="2147310112"/>
            <ac:spMk id="135" creationId="{7E25B9D9-D9FA-4B6B-942B-CBEA79C827B7}"/>
          </ac:spMkLst>
        </pc:spChg>
        <pc:spChg chg="mod">
          <ac:chgData name="Washington Nascimento" userId="f3b9592a5eff0234" providerId="LiveId" clId="{FD02D532-6A69-490F-95BE-03600E714289}" dt="2023-04-03T13:37:09.144" v="1170" actId="20577"/>
          <ac:spMkLst>
            <pc:docMk/>
            <pc:sldMk cId="3143575955" sldId="2147310112"/>
            <ac:spMk id="136" creationId="{1F688124-0308-4366-89DF-762C634ABFEC}"/>
          </ac:spMkLst>
        </pc:spChg>
        <pc:spChg chg="mod">
          <ac:chgData name="Washington Nascimento" userId="f3b9592a5eff0234" providerId="LiveId" clId="{FD02D532-6A69-490F-95BE-03600E714289}" dt="2023-04-03T13:37:32.279" v="1190" actId="122"/>
          <ac:spMkLst>
            <pc:docMk/>
            <pc:sldMk cId="3143575955" sldId="2147310112"/>
            <ac:spMk id="137" creationId="{FA8A9713-FF3F-4BF9-81F7-181D7D53CA51}"/>
          </ac:spMkLst>
        </pc:spChg>
        <pc:spChg chg="mod">
          <ac:chgData name="Washington Nascimento" userId="f3b9592a5eff0234" providerId="LiveId" clId="{FD02D532-6A69-490F-95BE-03600E714289}" dt="2023-04-03T13:36:44.088" v="1129" actId="20577"/>
          <ac:spMkLst>
            <pc:docMk/>
            <pc:sldMk cId="3143575955" sldId="2147310112"/>
            <ac:spMk id="138" creationId="{D8A91138-4CDB-4FA8-8D55-1C98A3D598CF}"/>
          </ac:spMkLst>
        </pc:spChg>
      </pc:sldChg>
      <pc:sldChg chg="modSp mod">
        <pc:chgData name="Washington Nascimento" userId="f3b9592a5eff0234" providerId="LiveId" clId="{FD02D532-6A69-490F-95BE-03600E714289}" dt="2023-04-03T13:43:08.696" v="1623" actId="20577"/>
        <pc:sldMkLst>
          <pc:docMk/>
          <pc:sldMk cId="798535839" sldId="2147310113"/>
        </pc:sldMkLst>
        <pc:spChg chg="mod">
          <ac:chgData name="Washington Nascimento" userId="f3b9592a5eff0234" providerId="LiveId" clId="{FD02D532-6A69-490F-95BE-03600E714289}" dt="2023-04-03T13:42:37.435" v="1554"/>
          <ac:spMkLst>
            <pc:docMk/>
            <pc:sldMk cId="798535839" sldId="2147310113"/>
            <ac:spMk id="2" creationId="{96EF2777-1B68-44A7-B826-22212E044359}"/>
          </ac:spMkLst>
        </pc:spChg>
        <pc:spChg chg="mod">
          <ac:chgData name="Washington Nascimento" userId="f3b9592a5eff0234" providerId="LiveId" clId="{FD02D532-6A69-490F-95BE-03600E714289}" dt="2023-04-03T13:43:08.696" v="1623" actId="20577"/>
          <ac:spMkLst>
            <pc:docMk/>
            <pc:sldMk cId="798535839" sldId="2147310113"/>
            <ac:spMk id="3" creationId="{D95CD12D-CD99-4EEC-8C78-92408B4E3A6A}"/>
          </ac:spMkLst>
        </pc:spChg>
        <pc:spChg chg="mod">
          <ac:chgData name="Washington Nascimento" userId="f3b9592a5eff0234" providerId="LiveId" clId="{FD02D532-6A69-490F-95BE-03600E714289}" dt="2023-04-03T13:40:51.839" v="1500" actId="122"/>
          <ac:spMkLst>
            <pc:docMk/>
            <pc:sldMk cId="798535839" sldId="2147310113"/>
            <ac:spMk id="23" creationId="{EC16F2AA-2AC9-4EF3-B545-FCECF6C70657}"/>
          </ac:spMkLst>
        </pc:spChg>
        <pc:spChg chg="mod">
          <ac:chgData name="Washington Nascimento" userId="f3b9592a5eff0234" providerId="LiveId" clId="{FD02D532-6A69-490F-95BE-03600E714289}" dt="2023-04-03T13:40:36.856" v="1466" actId="14100"/>
          <ac:spMkLst>
            <pc:docMk/>
            <pc:sldMk cId="798535839" sldId="2147310113"/>
            <ac:spMk id="24" creationId="{24999205-EFF8-400E-8FED-CAF8094FEA9A}"/>
          </ac:spMkLst>
        </pc:spChg>
        <pc:spChg chg="mod">
          <ac:chgData name="Washington Nascimento" userId="f3b9592a5eff0234" providerId="LiveId" clId="{FD02D532-6A69-490F-95BE-03600E714289}" dt="2023-04-03T13:39:47.952" v="1385" actId="122"/>
          <ac:spMkLst>
            <pc:docMk/>
            <pc:sldMk cId="798535839" sldId="2147310113"/>
            <ac:spMk id="25" creationId="{DDF506DC-ED55-43AF-A163-E176F888BB7C}"/>
          </ac:spMkLst>
        </pc:spChg>
        <pc:spChg chg="mod">
          <ac:chgData name="Washington Nascimento" userId="f3b9592a5eff0234" providerId="LiveId" clId="{FD02D532-6A69-490F-95BE-03600E714289}" dt="2023-04-03T13:39:44.814" v="1383" actId="20577"/>
          <ac:spMkLst>
            <pc:docMk/>
            <pc:sldMk cId="798535839" sldId="2147310113"/>
            <ac:spMk id="26" creationId="{90BC6594-679A-495D-B0C0-232EE1B1C0BC}"/>
          </ac:spMkLst>
        </pc:spChg>
        <pc:spChg chg="mod">
          <ac:chgData name="Washington Nascimento" userId="f3b9592a5eff0234" providerId="LiveId" clId="{FD02D532-6A69-490F-95BE-03600E714289}" dt="2023-04-03T13:39:00.751" v="1319" actId="1076"/>
          <ac:spMkLst>
            <pc:docMk/>
            <pc:sldMk cId="798535839" sldId="2147310113"/>
            <ac:spMk id="98" creationId="{DAE0C99C-68A5-4ACE-B820-223E534F728F}"/>
          </ac:spMkLst>
        </pc:spChg>
        <pc:spChg chg="mod">
          <ac:chgData name="Washington Nascimento" userId="f3b9592a5eff0234" providerId="LiveId" clId="{FD02D532-6A69-490F-95BE-03600E714289}" dt="2023-04-03T13:40:59.783" v="1511"/>
          <ac:spMkLst>
            <pc:docMk/>
            <pc:sldMk cId="798535839" sldId="2147310113"/>
            <ac:spMk id="100" creationId="{55D8E80C-6953-4222-9BB2-0D89520E793B}"/>
          </ac:spMkLst>
        </pc:spChg>
        <pc:spChg chg="mod">
          <ac:chgData name="Washington Nascimento" userId="f3b9592a5eff0234" providerId="LiveId" clId="{FD02D532-6A69-490F-95BE-03600E714289}" dt="2023-04-03T13:39:21.823" v="1345" actId="20577"/>
          <ac:spMkLst>
            <pc:docMk/>
            <pc:sldMk cId="798535839" sldId="2147310113"/>
            <ac:spMk id="103" creationId="{F61F8D85-0C26-4D96-8124-A178D9A71435}"/>
          </ac:spMkLst>
        </pc:spChg>
        <pc:spChg chg="mod">
          <ac:chgData name="Washington Nascimento" userId="f3b9592a5eff0234" providerId="LiveId" clId="{FD02D532-6A69-490F-95BE-03600E714289}" dt="2023-04-03T13:39:58.398" v="1418" actId="20577"/>
          <ac:spMkLst>
            <pc:docMk/>
            <pc:sldMk cId="798535839" sldId="2147310113"/>
            <ac:spMk id="106" creationId="{90EA210E-619F-40B9-AC87-2F8BE76EE7E0}"/>
          </ac:spMkLst>
        </pc:spChg>
        <pc:spChg chg="mod">
          <ac:chgData name="Washington Nascimento" userId="f3b9592a5eff0234" providerId="LiveId" clId="{FD02D532-6A69-490F-95BE-03600E714289}" dt="2023-04-03T13:40:18.991" v="1451"/>
          <ac:spMkLst>
            <pc:docMk/>
            <pc:sldMk cId="798535839" sldId="2147310113"/>
            <ac:spMk id="107" creationId="{3C731D0A-D390-4117-9E8A-A862B965DD47}"/>
          </ac:spMkLst>
        </pc:spChg>
        <pc:spChg chg="mod">
          <ac:chgData name="Washington Nascimento" userId="f3b9592a5eff0234" providerId="LiveId" clId="{FD02D532-6A69-490F-95BE-03600E714289}" dt="2023-04-03T13:39:38.510" v="1373" actId="20577"/>
          <ac:spMkLst>
            <pc:docMk/>
            <pc:sldMk cId="798535839" sldId="2147310113"/>
            <ac:spMk id="108" creationId="{669596C1-3EF8-47CD-8B58-31123E7CA5FE}"/>
          </ac:spMkLst>
        </pc:spChg>
        <pc:spChg chg="mod">
          <ac:chgData name="Washington Nascimento" userId="f3b9592a5eff0234" providerId="LiveId" clId="{FD02D532-6A69-490F-95BE-03600E714289}" dt="2023-04-03T13:39:12.945" v="1323"/>
          <ac:spMkLst>
            <pc:docMk/>
            <pc:sldMk cId="798535839" sldId="2147310113"/>
            <ac:spMk id="109" creationId="{1B340202-96DA-4DEF-A79A-F719C23B1A1B}"/>
          </ac:spMkLst>
        </pc:spChg>
        <pc:spChg chg="mod">
          <ac:chgData name="Washington Nascimento" userId="f3b9592a5eff0234" providerId="LiveId" clId="{FD02D532-6A69-490F-95BE-03600E714289}" dt="2023-04-03T13:40:54.006" v="1510" actId="20577"/>
          <ac:spMkLst>
            <pc:docMk/>
            <pc:sldMk cId="798535839" sldId="2147310113"/>
            <ac:spMk id="113" creationId="{1EC6E66C-20F2-4204-BF65-5B19F16CBDDF}"/>
          </ac:spMkLst>
        </pc:spChg>
        <pc:spChg chg="mod">
          <ac:chgData name="Washington Nascimento" userId="f3b9592a5eff0234" providerId="LiveId" clId="{FD02D532-6A69-490F-95BE-03600E714289}" dt="2023-04-03T13:40:42.430" v="1485" actId="20577"/>
          <ac:spMkLst>
            <pc:docMk/>
            <pc:sldMk cId="798535839" sldId="2147310113"/>
            <ac:spMk id="115" creationId="{7889CAAE-BA33-4B0E-803D-7BC7864BFD8F}"/>
          </ac:spMkLst>
        </pc:spChg>
        <pc:spChg chg="mod">
          <ac:chgData name="Washington Nascimento" userId="f3b9592a5eff0234" providerId="LiveId" clId="{FD02D532-6A69-490F-95BE-03600E714289}" dt="2023-04-03T13:39:54.255" v="1410" actId="20577"/>
          <ac:spMkLst>
            <pc:docMk/>
            <pc:sldMk cId="798535839" sldId="2147310113"/>
            <ac:spMk id="117" creationId="{A8B34691-949C-4EE8-8964-8832F2CB1C29}"/>
          </ac:spMkLst>
        </pc:spChg>
        <pc:spChg chg="mod">
          <ac:chgData name="Washington Nascimento" userId="f3b9592a5eff0234" providerId="LiveId" clId="{FD02D532-6A69-490F-95BE-03600E714289}" dt="2023-04-03T13:39:24.911" v="1353" actId="20577"/>
          <ac:spMkLst>
            <pc:docMk/>
            <pc:sldMk cId="798535839" sldId="2147310113"/>
            <ac:spMk id="119" creationId="{E7652786-2024-45D6-BF56-93288ACF5FFC}"/>
          </ac:spMkLst>
        </pc:spChg>
        <pc:spChg chg="mod">
          <ac:chgData name="Washington Nascimento" userId="f3b9592a5eff0234" providerId="LiveId" clId="{FD02D532-6A69-490F-95BE-03600E714289}" dt="2023-04-03T13:40:12.614" v="1450" actId="6549"/>
          <ac:spMkLst>
            <pc:docMk/>
            <pc:sldMk cId="798535839" sldId="2147310113"/>
            <ac:spMk id="138" creationId="{D8A91138-4CDB-4FA8-8D55-1C98A3D598CF}"/>
          </ac:spMkLst>
        </pc:spChg>
        <pc:spChg chg="mod">
          <ac:chgData name="Washington Nascimento" userId="f3b9592a5eff0234" providerId="LiveId" clId="{FD02D532-6A69-490F-95BE-03600E714289}" dt="2023-04-03T13:42:28.149" v="1553" actId="404"/>
          <ac:spMkLst>
            <pc:docMk/>
            <pc:sldMk cId="798535839" sldId="2147310113"/>
            <ac:spMk id="141" creationId="{82D9B291-4A7A-4B09-B3D3-72A05E81F496}"/>
          </ac:spMkLst>
        </pc:spChg>
        <pc:spChg chg="mod">
          <ac:chgData name="Washington Nascimento" userId="f3b9592a5eff0234" providerId="LiveId" clId="{FD02D532-6A69-490F-95BE-03600E714289}" dt="2023-04-03T13:40:29.626" v="1454" actId="1076"/>
          <ac:spMkLst>
            <pc:docMk/>
            <pc:sldMk cId="798535839" sldId="2147310113"/>
            <ac:spMk id="142" creationId="{3A84F4A6-8BBB-4212-A2CF-B06348397DA7}"/>
          </ac:spMkLst>
        </pc:spChg>
      </pc:sldChg>
      <pc:sldChg chg="modSp mod">
        <pc:chgData name="Washington Nascimento" userId="f3b9592a5eff0234" providerId="LiveId" clId="{FD02D532-6A69-490F-95BE-03600E714289}" dt="2023-04-03T13:51:22.638" v="2172"/>
        <pc:sldMkLst>
          <pc:docMk/>
          <pc:sldMk cId="2391812821" sldId="2147310114"/>
        </pc:sldMkLst>
        <pc:spChg chg="mod">
          <ac:chgData name="Washington Nascimento" userId="f3b9592a5eff0234" providerId="LiveId" clId="{FD02D532-6A69-490F-95BE-03600E714289}" dt="2023-04-03T13:51:10.382" v="2171" actId="20577"/>
          <ac:spMkLst>
            <pc:docMk/>
            <pc:sldMk cId="2391812821" sldId="2147310114"/>
            <ac:spMk id="2" creationId="{96EF2777-1B68-44A7-B826-22212E044359}"/>
          </ac:spMkLst>
        </pc:spChg>
        <pc:spChg chg="mod">
          <ac:chgData name="Washington Nascimento" userId="f3b9592a5eff0234" providerId="LiveId" clId="{FD02D532-6A69-490F-95BE-03600E714289}" dt="2023-04-03T13:51:22.638" v="2172"/>
          <ac:spMkLst>
            <pc:docMk/>
            <pc:sldMk cId="2391812821" sldId="2147310114"/>
            <ac:spMk id="3" creationId="{D95CD12D-CD99-4EEC-8C78-92408B4E3A6A}"/>
          </ac:spMkLst>
        </pc:spChg>
        <pc:spChg chg="mod">
          <ac:chgData name="Washington Nascimento" userId="f3b9592a5eff0234" providerId="LiveId" clId="{FD02D532-6A69-490F-95BE-03600E714289}" dt="2023-04-03T13:46:15.856" v="2014" actId="1076"/>
          <ac:spMkLst>
            <pc:docMk/>
            <pc:sldMk cId="2391812821" sldId="2147310114"/>
            <ac:spMk id="21" creationId="{3F14523E-4AF9-4CBE-A657-39433A63E417}"/>
          </ac:spMkLst>
        </pc:spChg>
        <pc:spChg chg="mod">
          <ac:chgData name="Washington Nascimento" userId="f3b9592a5eff0234" providerId="LiveId" clId="{FD02D532-6A69-490F-95BE-03600E714289}" dt="2023-04-03T13:45:02.627" v="1804" actId="1076"/>
          <ac:spMkLst>
            <pc:docMk/>
            <pc:sldMk cId="2391812821" sldId="2147310114"/>
            <ac:spMk id="23" creationId="{EC16F2AA-2AC9-4EF3-B545-FCECF6C70657}"/>
          </ac:spMkLst>
        </pc:spChg>
        <pc:spChg chg="mod">
          <ac:chgData name="Washington Nascimento" userId="f3b9592a5eff0234" providerId="LiveId" clId="{FD02D532-6A69-490F-95BE-03600E714289}" dt="2023-04-03T13:44:57.532" v="1796" actId="1076"/>
          <ac:spMkLst>
            <pc:docMk/>
            <pc:sldMk cId="2391812821" sldId="2147310114"/>
            <ac:spMk id="24" creationId="{24999205-EFF8-400E-8FED-CAF8094FEA9A}"/>
          </ac:spMkLst>
        </pc:spChg>
        <pc:spChg chg="mod">
          <ac:chgData name="Washington Nascimento" userId="f3b9592a5eff0234" providerId="LiveId" clId="{FD02D532-6A69-490F-95BE-03600E714289}" dt="2023-04-03T13:45:23.548" v="1860" actId="1076"/>
          <ac:spMkLst>
            <pc:docMk/>
            <pc:sldMk cId="2391812821" sldId="2147310114"/>
            <ac:spMk id="25" creationId="{DDF506DC-ED55-43AF-A163-E176F888BB7C}"/>
          </ac:spMkLst>
        </pc:spChg>
        <pc:spChg chg="mod">
          <ac:chgData name="Washington Nascimento" userId="f3b9592a5eff0234" providerId="LiveId" clId="{FD02D532-6A69-490F-95BE-03600E714289}" dt="2023-04-03T13:45:27.671" v="1868" actId="1076"/>
          <ac:spMkLst>
            <pc:docMk/>
            <pc:sldMk cId="2391812821" sldId="2147310114"/>
            <ac:spMk id="26" creationId="{90BC6594-679A-495D-B0C0-232EE1B1C0BC}"/>
          </ac:spMkLst>
        </pc:spChg>
        <pc:spChg chg="mod">
          <ac:chgData name="Washington Nascimento" userId="f3b9592a5eff0234" providerId="LiveId" clId="{FD02D532-6A69-490F-95BE-03600E714289}" dt="2023-04-03T13:45:09.622" v="1830" actId="20577"/>
          <ac:spMkLst>
            <pc:docMk/>
            <pc:sldMk cId="2391812821" sldId="2147310114"/>
            <ac:spMk id="46" creationId="{2C458B20-D4A7-4001-A8D8-065842341365}"/>
          </ac:spMkLst>
        </pc:spChg>
        <pc:spChg chg="mod">
          <ac:chgData name="Washington Nascimento" userId="f3b9592a5eff0234" providerId="LiveId" clId="{FD02D532-6A69-490F-95BE-03600E714289}" dt="2023-04-03T13:45:06.870" v="1820" actId="20577"/>
          <ac:spMkLst>
            <pc:docMk/>
            <pc:sldMk cId="2391812821" sldId="2147310114"/>
            <ac:spMk id="48" creationId="{0F457C3A-076A-4059-8208-AF916BF8913A}"/>
          </ac:spMkLst>
        </pc:spChg>
        <pc:spChg chg="mod">
          <ac:chgData name="Washington Nascimento" userId="f3b9592a5eff0234" providerId="LiveId" clId="{FD02D532-6A69-490F-95BE-03600E714289}" dt="2023-04-03T13:45:13.864" v="1851" actId="20577"/>
          <ac:spMkLst>
            <pc:docMk/>
            <pc:sldMk cId="2391812821" sldId="2147310114"/>
            <ac:spMk id="51" creationId="{364F585B-5B43-490D-BAB8-AC07E10B5583}"/>
          </ac:spMkLst>
        </pc:spChg>
        <pc:spChg chg="mod">
          <ac:chgData name="Washington Nascimento" userId="f3b9592a5eff0234" providerId="LiveId" clId="{FD02D532-6A69-490F-95BE-03600E714289}" dt="2023-04-03T13:45:46.671" v="1932" actId="20577"/>
          <ac:spMkLst>
            <pc:docMk/>
            <pc:sldMk cId="2391812821" sldId="2147310114"/>
            <ac:spMk id="52" creationId="{CAC12196-733C-4319-AD1C-43D7B6BE4906}"/>
          </ac:spMkLst>
        </pc:spChg>
        <pc:spChg chg="mod">
          <ac:chgData name="Washington Nascimento" userId="f3b9592a5eff0234" providerId="LiveId" clId="{FD02D532-6A69-490F-95BE-03600E714289}" dt="2023-04-03T13:45:30.863" v="1878" actId="20577"/>
          <ac:spMkLst>
            <pc:docMk/>
            <pc:sldMk cId="2391812821" sldId="2147310114"/>
            <ac:spMk id="54" creationId="{786F06BB-4A3A-4B07-B6DA-35888DAC7055}"/>
          </ac:spMkLst>
        </pc:spChg>
        <pc:spChg chg="mod">
          <ac:chgData name="Washington Nascimento" userId="f3b9592a5eff0234" providerId="LiveId" clId="{FD02D532-6A69-490F-95BE-03600E714289}" dt="2023-04-03T13:45:35.607" v="1896" actId="20577"/>
          <ac:spMkLst>
            <pc:docMk/>
            <pc:sldMk cId="2391812821" sldId="2147310114"/>
            <ac:spMk id="56" creationId="{2D6E0E14-199D-4767-8AE3-81A55939AA9B}"/>
          </ac:spMkLst>
        </pc:spChg>
        <pc:spChg chg="mod">
          <ac:chgData name="Washington Nascimento" userId="f3b9592a5eff0234" providerId="LiveId" clId="{FD02D532-6A69-490F-95BE-03600E714289}" dt="2023-04-03T13:45:42.280" v="1913" actId="20577"/>
          <ac:spMkLst>
            <pc:docMk/>
            <pc:sldMk cId="2391812821" sldId="2147310114"/>
            <ac:spMk id="62" creationId="{57BD7BF9-A165-40EF-9D83-BC9E74019D54}"/>
          </ac:spMkLst>
        </pc:spChg>
        <pc:spChg chg="mod">
          <ac:chgData name="Washington Nascimento" userId="f3b9592a5eff0234" providerId="LiveId" clId="{FD02D532-6A69-490F-95BE-03600E714289}" dt="2023-04-03T13:45:50.150" v="1949" actId="20577"/>
          <ac:spMkLst>
            <pc:docMk/>
            <pc:sldMk cId="2391812821" sldId="2147310114"/>
            <ac:spMk id="63" creationId="{FB6BC16A-7DA4-4D4F-AF33-AE4C46A4C032}"/>
          </ac:spMkLst>
        </pc:spChg>
        <pc:spChg chg="mod">
          <ac:chgData name="Washington Nascimento" userId="f3b9592a5eff0234" providerId="LiveId" clId="{FD02D532-6A69-490F-95BE-03600E714289}" dt="2023-04-03T13:45:54.502" v="1968" actId="20577"/>
          <ac:spMkLst>
            <pc:docMk/>
            <pc:sldMk cId="2391812821" sldId="2147310114"/>
            <ac:spMk id="65" creationId="{CB236FB4-1B8F-4F76-AB61-01CB11C37AFF}"/>
          </ac:spMkLst>
        </pc:spChg>
      </pc:sldChg>
      <pc:sldChg chg="addSp delSp modSp mod">
        <pc:chgData name="Washington Nascimento" userId="f3b9592a5eff0234" providerId="LiveId" clId="{FD02D532-6A69-490F-95BE-03600E714289}" dt="2023-04-03T13:25:35.456" v="293" actId="20577"/>
        <pc:sldMkLst>
          <pc:docMk/>
          <pc:sldMk cId="3449866643" sldId="2147310122"/>
        </pc:sldMkLst>
        <pc:spChg chg="mod">
          <ac:chgData name="Washington Nascimento" userId="f3b9592a5eff0234" providerId="LiveId" clId="{FD02D532-6A69-490F-95BE-03600E714289}" dt="2023-04-03T13:24:58.848" v="204" actId="20577"/>
          <ac:spMkLst>
            <pc:docMk/>
            <pc:sldMk cId="3449866643" sldId="2147310122"/>
            <ac:spMk id="2" creationId="{254ACF6C-A987-2A4B-985D-8E467F660DE4}"/>
          </ac:spMkLst>
        </pc:spChg>
        <pc:spChg chg="mod">
          <ac:chgData name="Washington Nascimento" userId="f3b9592a5eff0234" providerId="LiveId" clId="{FD02D532-6A69-490F-95BE-03600E714289}" dt="2023-04-03T13:25:22.767" v="275" actId="20577"/>
          <ac:spMkLst>
            <pc:docMk/>
            <pc:sldMk cId="3449866643" sldId="2147310122"/>
            <ac:spMk id="11" creationId="{4BE69D53-FB28-B44B-9241-4918A148B3F6}"/>
          </ac:spMkLst>
        </pc:spChg>
        <pc:spChg chg="mod">
          <ac:chgData name="Washington Nascimento" userId="f3b9592a5eff0234" providerId="LiveId" clId="{FD02D532-6A69-490F-95BE-03600E714289}" dt="2023-04-03T13:25:35.456" v="293" actId="20577"/>
          <ac:spMkLst>
            <pc:docMk/>
            <pc:sldMk cId="3449866643" sldId="2147310122"/>
            <ac:spMk id="37" creationId="{6B85E814-61F6-47A0-BFFE-963095983C27}"/>
          </ac:spMkLst>
        </pc:spChg>
        <pc:spChg chg="mod">
          <ac:chgData name="Washington Nascimento" userId="f3b9592a5eff0234" providerId="LiveId" clId="{FD02D532-6A69-490F-95BE-03600E714289}" dt="2023-04-03T13:25:27.127" v="277" actId="20577"/>
          <ac:spMkLst>
            <pc:docMk/>
            <pc:sldMk cId="3449866643" sldId="2147310122"/>
            <ac:spMk id="38" creationId="{A102EB57-86C1-4D39-B1CB-BCC6277EE603}"/>
          </ac:spMkLst>
        </pc:spChg>
        <pc:picChg chg="add del">
          <ac:chgData name="Washington Nascimento" userId="f3b9592a5eff0234" providerId="LiveId" clId="{FD02D532-6A69-490F-95BE-03600E714289}" dt="2023-04-03T13:25:30.298" v="279" actId="478"/>
          <ac:picMkLst>
            <pc:docMk/>
            <pc:sldMk cId="3449866643" sldId="2147310122"/>
            <ac:picMk id="29" creationId="{3302C2E3-20E3-49F3-9147-5A223FCA4B82}"/>
          </ac:picMkLst>
        </pc:picChg>
      </pc:sldChg>
      <pc:sldChg chg="modSp mod">
        <pc:chgData name="Washington Nascimento" userId="f3b9592a5eff0234" providerId="LiveId" clId="{FD02D532-6A69-490F-95BE-03600E714289}" dt="2023-04-03T13:26:12.591" v="393" actId="20577"/>
        <pc:sldMkLst>
          <pc:docMk/>
          <pc:sldMk cId="1659437419" sldId="2147310123"/>
        </pc:sldMkLst>
        <pc:spChg chg="mod">
          <ac:chgData name="Washington Nascimento" userId="f3b9592a5eff0234" providerId="LiveId" clId="{FD02D532-6A69-490F-95BE-03600E714289}" dt="2023-04-03T13:25:45.976" v="312" actId="20577"/>
          <ac:spMkLst>
            <pc:docMk/>
            <pc:sldMk cId="1659437419" sldId="2147310123"/>
            <ac:spMk id="2" creationId="{254ACF6C-A987-2A4B-985D-8E467F660DE4}"/>
          </ac:spMkLst>
        </pc:spChg>
        <pc:spChg chg="mod">
          <ac:chgData name="Washington Nascimento" userId="f3b9592a5eff0234" providerId="LiveId" clId="{FD02D532-6A69-490F-95BE-03600E714289}" dt="2023-04-03T13:26:02.639" v="360" actId="20577"/>
          <ac:spMkLst>
            <pc:docMk/>
            <pc:sldMk cId="1659437419" sldId="2147310123"/>
            <ac:spMk id="5" creationId="{6A92238A-27CB-6C43-9296-90B76D83C0A4}"/>
          </ac:spMkLst>
        </pc:spChg>
        <pc:spChg chg="mod">
          <ac:chgData name="Washington Nascimento" userId="f3b9592a5eff0234" providerId="LiveId" clId="{FD02D532-6A69-490F-95BE-03600E714289}" dt="2023-04-03T13:26:07.678" v="377" actId="20577"/>
          <ac:spMkLst>
            <pc:docMk/>
            <pc:sldMk cId="1659437419" sldId="2147310123"/>
            <ac:spMk id="6" creationId="{1DCE1196-7E8E-B94B-B640-A018000EAE8C}"/>
          </ac:spMkLst>
        </pc:spChg>
        <pc:spChg chg="mod">
          <ac:chgData name="Washington Nascimento" userId="f3b9592a5eff0234" providerId="LiveId" clId="{FD02D532-6A69-490F-95BE-03600E714289}" dt="2023-04-03T13:26:00.351" v="358" actId="20577"/>
          <ac:spMkLst>
            <pc:docMk/>
            <pc:sldMk cId="1659437419" sldId="2147310123"/>
            <ac:spMk id="11" creationId="{4BE69D53-FB28-B44B-9241-4918A148B3F6}"/>
          </ac:spMkLst>
        </pc:spChg>
        <pc:spChg chg="mod">
          <ac:chgData name="Washington Nascimento" userId="f3b9592a5eff0234" providerId="LiveId" clId="{FD02D532-6A69-490F-95BE-03600E714289}" dt="2023-04-03T13:26:12.591" v="393" actId="20577"/>
          <ac:spMkLst>
            <pc:docMk/>
            <pc:sldMk cId="1659437419" sldId="2147310123"/>
            <ac:spMk id="21" creationId="{E23C4949-9929-47CE-886C-3F9112B3274C}"/>
          </ac:spMkLst>
        </pc:spChg>
      </pc:sldChg>
      <pc:sldChg chg="modSp mod">
        <pc:chgData name="Washington Nascimento" userId="f3b9592a5eff0234" providerId="LiveId" clId="{FD02D532-6A69-490F-95BE-03600E714289}" dt="2023-04-03T13:23:30.074" v="73" actId="1076"/>
        <pc:sldMkLst>
          <pc:docMk/>
          <pc:sldMk cId="2458750568" sldId="2147310125"/>
        </pc:sldMkLst>
        <pc:spChg chg="mod">
          <ac:chgData name="Washington Nascimento" userId="f3b9592a5eff0234" providerId="LiveId" clId="{FD02D532-6A69-490F-95BE-03600E714289}" dt="2023-04-03T13:21:37.975" v="24" actId="20577"/>
          <ac:spMkLst>
            <pc:docMk/>
            <pc:sldMk cId="2458750568" sldId="2147310125"/>
            <ac:spMk id="2" creationId="{9A0C07B9-5B59-4BD7-857E-CFF79FFB1398}"/>
          </ac:spMkLst>
        </pc:spChg>
        <pc:spChg chg="mod">
          <ac:chgData name="Washington Nascimento" userId="f3b9592a5eff0234" providerId="LiveId" clId="{FD02D532-6A69-490F-95BE-03600E714289}" dt="2023-04-03T13:22:23.879" v="29" actId="14100"/>
          <ac:spMkLst>
            <pc:docMk/>
            <pc:sldMk cId="2458750568" sldId="2147310125"/>
            <ac:spMk id="7" creationId="{39F1B057-8E7C-4C15-BB06-29B53451342D}"/>
          </ac:spMkLst>
        </pc:spChg>
        <pc:spChg chg="mod">
          <ac:chgData name="Washington Nascimento" userId="f3b9592a5eff0234" providerId="LiveId" clId="{FD02D532-6A69-490F-95BE-03600E714289}" dt="2023-04-03T13:22:35.235" v="30"/>
          <ac:spMkLst>
            <pc:docMk/>
            <pc:sldMk cId="2458750568" sldId="2147310125"/>
            <ac:spMk id="14" creationId="{750058D4-A307-486C-8C0D-4B6931438037}"/>
          </ac:spMkLst>
        </pc:spChg>
        <pc:spChg chg="mod">
          <ac:chgData name="Washington Nascimento" userId="f3b9592a5eff0234" providerId="LiveId" clId="{FD02D532-6A69-490F-95BE-03600E714289}" dt="2023-04-03T13:23:06.863" v="63" actId="20577"/>
          <ac:spMkLst>
            <pc:docMk/>
            <pc:sldMk cId="2458750568" sldId="2147310125"/>
            <ac:spMk id="16" creationId="{64DD483C-DACA-4BC7-8F81-9264842C3D16}"/>
          </ac:spMkLst>
        </pc:spChg>
        <pc:spChg chg="mod">
          <ac:chgData name="Washington Nascimento" userId="f3b9592a5eff0234" providerId="LiveId" clId="{FD02D532-6A69-490F-95BE-03600E714289}" dt="2023-04-03T13:22:39.701" v="31" actId="1076"/>
          <ac:spMkLst>
            <pc:docMk/>
            <pc:sldMk cId="2458750568" sldId="2147310125"/>
            <ac:spMk id="17" creationId="{212D8AEE-104B-4C5A-9E64-73249ACBED6F}"/>
          </ac:spMkLst>
        </pc:spChg>
        <pc:spChg chg="mod">
          <ac:chgData name="Washington Nascimento" userId="f3b9592a5eff0234" providerId="LiveId" clId="{FD02D532-6A69-490F-95BE-03600E714289}" dt="2023-04-03T13:23:30.074" v="73" actId="1076"/>
          <ac:spMkLst>
            <pc:docMk/>
            <pc:sldMk cId="2458750568" sldId="2147310125"/>
            <ac:spMk id="87" creationId="{9B9A68E1-0EC9-450E-9E3C-68A00B0168C0}"/>
          </ac:spMkLst>
        </pc:spChg>
        <pc:spChg chg="mod">
          <ac:chgData name="Washington Nascimento" userId="f3b9592a5eff0234" providerId="LiveId" clId="{FD02D532-6A69-490F-95BE-03600E714289}" dt="2023-04-03T13:23:22.271" v="72" actId="20577"/>
          <ac:spMkLst>
            <pc:docMk/>
            <pc:sldMk cId="2458750568" sldId="2147310125"/>
            <ac:spMk id="111" creationId="{0FECDE8D-2955-4596-A5EE-7A12A2005ADA}"/>
          </ac:spMkLst>
        </pc:spChg>
      </pc:sldChg>
      <pc:sldChg chg="modSp mod">
        <pc:chgData name="Washington Nascimento" userId="f3b9592a5eff0234" providerId="LiveId" clId="{FD02D532-6A69-490F-95BE-03600E714289}" dt="2023-04-03T13:24:30.769" v="127" actId="20577"/>
        <pc:sldMkLst>
          <pc:docMk/>
          <pc:sldMk cId="2430454153" sldId="2147310126"/>
        </pc:sldMkLst>
        <pc:spChg chg="mod">
          <ac:chgData name="Washington Nascimento" userId="f3b9592a5eff0234" providerId="LiveId" clId="{FD02D532-6A69-490F-95BE-03600E714289}" dt="2023-04-03T13:23:36.796" v="74"/>
          <ac:spMkLst>
            <pc:docMk/>
            <pc:sldMk cId="2430454153" sldId="2147310126"/>
            <ac:spMk id="2" creationId="{9A0C07B9-5B59-4BD7-857E-CFF79FFB1398}"/>
          </ac:spMkLst>
        </pc:spChg>
        <pc:spChg chg="mod">
          <ac:chgData name="Washington Nascimento" userId="f3b9592a5eff0234" providerId="LiveId" clId="{FD02D532-6A69-490F-95BE-03600E714289}" dt="2023-04-03T13:23:57.838" v="90" actId="20577"/>
          <ac:spMkLst>
            <pc:docMk/>
            <pc:sldMk cId="2430454153" sldId="2147310126"/>
            <ac:spMk id="103" creationId="{0605512D-B9B0-4F95-8A10-7478F61498BA}"/>
          </ac:spMkLst>
        </pc:spChg>
        <pc:spChg chg="mod">
          <ac:chgData name="Washington Nascimento" userId="f3b9592a5eff0234" providerId="LiveId" clId="{FD02D532-6A69-490F-95BE-03600E714289}" dt="2023-04-03T13:24:05.363" v="91"/>
          <ac:spMkLst>
            <pc:docMk/>
            <pc:sldMk cId="2430454153" sldId="2147310126"/>
            <ac:spMk id="183" creationId="{2E34F3B4-D6A5-423C-8AE2-A8BAC33BE547}"/>
          </ac:spMkLst>
        </pc:spChg>
        <pc:spChg chg="mod">
          <ac:chgData name="Washington Nascimento" userId="f3b9592a5eff0234" providerId="LiveId" clId="{FD02D532-6A69-490F-95BE-03600E714289}" dt="2023-04-03T13:24:21.640" v="99" actId="20577"/>
          <ac:spMkLst>
            <pc:docMk/>
            <pc:sldMk cId="2430454153" sldId="2147310126"/>
            <ac:spMk id="184" creationId="{C0F9944D-2417-4F11-A4FA-103369525EDF}"/>
          </ac:spMkLst>
        </pc:spChg>
        <pc:spChg chg="mod">
          <ac:chgData name="Washington Nascimento" userId="f3b9592a5eff0234" providerId="LiveId" clId="{FD02D532-6A69-490F-95BE-03600E714289}" dt="2023-04-03T13:24:30.769" v="127" actId="20577"/>
          <ac:spMkLst>
            <pc:docMk/>
            <pc:sldMk cId="2430454153" sldId="2147310126"/>
            <ac:spMk id="232" creationId="{67FC5093-F680-42AD-9623-725E75B1DA38}"/>
          </ac:spMkLst>
        </pc:spChg>
      </pc:sldChg>
      <pc:sldChg chg="modSp mod">
        <pc:chgData name="Washington Nascimento" userId="f3b9592a5eff0234" providerId="LiveId" clId="{FD02D532-6A69-490F-95BE-03600E714289}" dt="2023-04-03T13:27:21.631" v="500" actId="1076"/>
        <pc:sldMkLst>
          <pc:docMk/>
          <pc:sldMk cId="1094346722" sldId="2147310147"/>
        </pc:sldMkLst>
        <pc:spChg chg="mod">
          <ac:chgData name="Washington Nascimento" userId="f3b9592a5eff0234" providerId="LiveId" clId="{FD02D532-6A69-490F-95BE-03600E714289}" dt="2023-04-03T13:26:20.559" v="414" actId="20577"/>
          <ac:spMkLst>
            <pc:docMk/>
            <pc:sldMk cId="1094346722" sldId="2147310147"/>
            <ac:spMk id="2" creationId="{254ACF6C-A987-2A4B-985D-8E467F660DE4}"/>
          </ac:spMkLst>
        </pc:spChg>
        <pc:spChg chg="mod">
          <ac:chgData name="Washington Nascimento" userId="f3b9592a5eff0234" providerId="LiveId" clId="{FD02D532-6A69-490F-95BE-03600E714289}" dt="2023-04-03T13:26:42.542" v="478" actId="20577"/>
          <ac:spMkLst>
            <pc:docMk/>
            <pc:sldMk cId="1094346722" sldId="2147310147"/>
            <ac:spMk id="5" creationId="{DE03F982-9C14-7040-84BA-2A8629169E91}"/>
          </ac:spMkLst>
        </pc:spChg>
        <pc:spChg chg="mod">
          <ac:chgData name="Washington Nascimento" userId="f3b9592a5eff0234" providerId="LiveId" clId="{FD02D532-6A69-490F-95BE-03600E714289}" dt="2023-04-03T13:26:55.127" v="485" actId="20577"/>
          <ac:spMkLst>
            <pc:docMk/>
            <pc:sldMk cId="1094346722" sldId="2147310147"/>
            <ac:spMk id="9" creationId="{186655EF-48DA-4CE0-A96D-89B6808F462F}"/>
          </ac:spMkLst>
        </pc:spChg>
        <pc:spChg chg="mod">
          <ac:chgData name="Washington Nascimento" userId="f3b9592a5eff0234" providerId="LiveId" clId="{FD02D532-6A69-490F-95BE-03600E714289}" dt="2023-04-03T13:26:58.398" v="493" actId="20577"/>
          <ac:spMkLst>
            <pc:docMk/>
            <pc:sldMk cId="1094346722" sldId="2147310147"/>
            <ac:spMk id="10" creationId="{9D77A03F-DE30-4B90-8DF0-F1C2A84BB6C5}"/>
          </ac:spMkLst>
        </pc:spChg>
        <pc:picChg chg="mod">
          <ac:chgData name="Washington Nascimento" userId="f3b9592a5eff0234" providerId="LiveId" clId="{FD02D532-6A69-490F-95BE-03600E714289}" dt="2023-04-03T13:27:21.631" v="500" actId="1076"/>
          <ac:picMkLst>
            <pc:docMk/>
            <pc:sldMk cId="1094346722" sldId="2147310147"/>
            <ac:picMk id="6" creationId="{096CE143-BFB8-44A5-A351-4909CB030EF9}"/>
          </ac:picMkLst>
        </pc:picChg>
      </pc:sldChg>
      <pc:sldChg chg="modSp mod">
        <pc:chgData name="Washington Nascimento" userId="f3b9592a5eff0234" providerId="LiveId" clId="{FD02D532-6A69-490F-95BE-03600E714289}" dt="2023-04-03T13:47:49.341" v="2104" actId="1076"/>
        <pc:sldMkLst>
          <pc:docMk/>
          <pc:sldMk cId="3156463951" sldId="2147310161"/>
        </pc:sldMkLst>
        <pc:spChg chg="mod">
          <ac:chgData name="Washington Nascimento" userId="f3b9592a5eff0234" providerId="LiveId" clId="{FD02D532-6A69-490F-95BE-03600E714289}" dt="2023-04-03T13:41:55.922" v="1521"/>
          <ac:spMkLst>
            <pc:docMk/>
            <pc:sldMk cId="3156463951" sldId="2147310161"/>
            <ac:spMk id="2" creationId="{96EF2777-1B68-44A7-B826-22212E044359}"/>
          </ac:spMkLst>
        </pc:spChg>
        <pc:spChg chg="mod">
          <ac:chgData name="Washington Nascimento" userId="f3b9592a5eff0234" providerId="LiveId" clId="{FD02D532-6A69-490F-95BE-03600E714289}" dt="2023-04-03T13:43:14.082" v="1624"/>
          <ac:spMkLst>
            <pc:docMk/>
            <pc:sldMk cId="3156463951" sldId="2147310161"/>
            <ac:spMk id="3" creationId="{D95CD12D-CD99-4EEC-8C78-92408B4E3A6A}"/>
          </ac:spMkLst>
        </pc:spChg>
        <pc:spChg chg="mod">
          <ac:chgData name="Washington Nascimento" userId="f3b9592a5eff0234" providerId="LiveId" clId="{FD02D532-6A69-490F-95BE-03600E714289}" dt="2023-04-03T13:47:28.991" v="2094" actId="122"/>
          <ac:spMkLst>
            <pc:docMk/>
            <pc:sldMk cId="3156463951" sldId="2147310161"/>
            <ac:spMk id="24" creationId="{24999205-EFF8-400E-8FED-CAF8094FEA9A}"/>
          </ac:spMkLst>
        </pc:spChg>
        <pc:spChg chg="mod">
          <ac:chgData name="Washington Nascimento" userId="f3b9592a5eff0234" providerId="LiveId" clId="{FD02D532-6A69-490F-95BE-03600E714289}" dt="2023-04-03T13:43:45.041" v="1692" actId="20577"/>
          <ac:spMkLst>
            <pc:docMk/>
            <pc:sldMk cId="3156463951" sldId="2147310161"/>
            <ac:spMk id="26" creationId="{90BC6594-679A-495D-B0C0-232EE1B1C0BC}"/>
          </ac:spMkLst>
        </pc:spChg>
        <pc:spChg chg="mod">
          <ac:chgData name="Washington Nascimento" userId="f3b9592a5eff0234" providerId="LiveId" clId="{FD02D532-6A69-490F-95BE-03600E714289}" dt="2023-04-03T13:46:23.703" v="2020" actId="1076"/>
          <ac:spMkLst>
            <pc:docMk/>
            <pc:sldMk cId="3156463951" sldId="2147310161"/>
            <ac:spMk id="115" creationId="{7889CAAE-BA33-4B0E-803D-7BC7864BFD8F}"/>
          </ac:spMkLst>
        </pc:spChg>
        <pc:spChg chg="mod">
          <ac:chgData name="Washington Nascimento" userId="f3b9592a5eff0234" providerId="LiveId" clId="{FD02D532-6A69-490F-95BE-03600E714289}" dt="2023-04-03T13:43:52.087" v="1708" actId="20577"/>
          <ac:spMkLst>
            <pc:docMk/>
            <pc:sldMk cId="3156463951" sldId="2147310161"/>
            <ac:spMk id="119" creationId="{E7652786-2024-45D6-BF56-93288ACF5FFC}"/>
          </ac:spMkLst>
        </pc:spChg>
        <pc:spChg chg="mod">
          <ac:chgData name="Washington Nascimento" userId="f3b9592a5eff0234" providerId="LiveId" clId="{FD02D532-6A69-490F-95BE-03600E714289}" dt="2023-04-03T13:43:25.478" v="1651" actId="20577"/>
          <ac:spMkLst>
            <pc:docMk/>
            <pc:sldMk cId="3156463951" sldId="2147310161"/>
            <ac:spMk id="161" creationId="{E4534C91-DC70-C64E-B5D9-F552E13C21C9}"/>
          </ac:spMkLst>
        </pc:spChg>
        <pc:spChg chg="mod">
          <ac:chgData name="Washington Nascimento" userId="f3b9592a5eff0234" providerId="LiveId" clId="{FD02D532-6A69-490F-95BE-03600E714289}" dt="2023-04-03T13:43:22.248" v="1641" actId="20577"/>
          <ac:spMkLst>
            <pc:docMk/>
            <pc:sldMk cId="3156463951" sldId="2147310161"/>
            <ac:spMk id="164" creationId="{C1F8AB88-DA8F-C94E-8ED2-E245A1560733}"/>
          </ac:spMkLst>
        </pc:spChg>
        <pc:spChg chg="mod">
          <ac:chgData name="Washington Nascimento" userId="f3b9592a5eff0234" providerId="LiveId" clId="{FD02D532-6A69-490F-95BE-03600E714289}" dt="2023-04-03T13:46:54.157" v="2075" actId="1076"/>
          <ac:spMkLst>
            <pc:docMk/>
            <pc:sldMk cId="3156463951" sldId="2147310161"/>
            <ac:spMk id="171" creationId="{A8EB57F6-BA44-2646-8298-5102431EBC5B}"/>
          </ac:spMkLst>
        </pc:spChg>
        <pc:spChg chg="mod">
          <ac:chgData name="Washington Nascimento" userId="f3b9592a5eff0234" providerId="LiveId" clId="{FD02D532-6A69-490F-95BE-03600E714289}" dt="2023-04-03T13:43:57.871" v="1733" actId="20577"/>
          <ac:spMkLst>
            <pc:docMk/>
            <pc:sldMk cId="3156463951" sldId="2147310161"/>
            <ac:spMk id="175" creationId="{141991F0-9714-9E45-9CC6-D634D2F8FF14}"/>
          </ac:spMkLst>
        </pc:spChg>
        <pc:spChg chg="mod">
          <ac:chgData name="Washington Nascimento" userId="f3b9592a5eff0234" providerId="LiveId" clId="{FD02D532-6A69-490F-95BE-03600E714289}" dt="2023-04-03T13:43:48.863" v="1700" actId="20577"/>
          <ac:spMkLst>
            <pc:docMk/>
            <pc:sldMk cId="3156463951" sldId="2147310161"/>
            <ac:spMk id="178" creationId="{53A38415-CD3E-1041-9A8A-CB4188450FFB}"/>
          </ac:spMkLst>
        </pc:spChg>
        <pc:spChg chg="mod">
          <ac:chgData name="Washington Nascimento" userId="f3b9592a5eff0234" providerId="LiveId" clId="{FD02D532-6A69-490F-95BE-03600E714289}" dt="2023-04-03T13:43:37.329" v="1678" actId="122"/>
          <ac:spMkLst>
            <pc:docMk/>
            <pc:sldMk cId="3156463951" sldId="2147310161"/>
            <ac:spMk id="181" creationId="{277A6AA2-33F8-1B47-9C27-6D9C39D1CA6A}"/>
          </ac:spMkLst>
        </pc:spChg>
        <pc:spChg chg="mod">
          <ac:chgData name="Washington Nascimento" userId="f3b9592a5eff0234" providerId="LiveId" clId="{FD02D532-6A69-490F-95BE-03600E714289}" dt="2023-04-03T13:43:40.598" v="1685" actId="20577"/>
          <ac:spMkLst>
            <pc:docMk/>
            <pc:sldMk cId="3156463951" sldId="2147310161"/>
            <ac:spMk id="184" creationId="{A8FF197F-F7FE-C340-AFF8-AF882AB6784E}"/>
          </ac:spMkLst>
        </pc:spChg>
        <pc:spChg chg="mod">
          <ac:chgData name="Washington Nascimento" userId="f3b9592a5eff0234" providerId="LiveId" clId="{FD02D532-6A69-490F-95BE-03600E714289}" dt="2023-04-03T13:43:19.223" v="1634" actId="20577"/>
          <ac:spMkLst>
            <pc:docMk/>
            <pc:sldMk cId="3156463951" sldId="2147310161"/>
            <ac:spMk id="194" creationId="{D17858FC-311B-A24E-B642-A04C20E6D657}"/>
          </ac:spMkLst>
        </pc:spChg>
        <pc:spChg chg="mod">
          <ac:chgData name="Washington Nascimento" userId="f3b9592a5eff0234" providerId="LiveId" clId="{FD02D532-6A69-490F-95BE-03600E714289}" dt="2023-04-03T13:44:08.447" v="1766" actId="20577"/>
          <ac:spMkLst>
            <pc:docMk/>
            <pc:sldMk cId="3156463951" sldId="2147310161"/>
            <ac:spMk id="196" creationId="{591EAC23-B857-0647-BE75-44BC4E6E4887}"/>
          </ac:spMkLst>
        </pc:spChg>
        <pc:spChg chg="mod">
          <ac:chgData name="Washington Nascimento" userId="f3b9592a5eff0234" providerId="LiveId" clId="{FD02D532-6A69-490F-95BE-03600E714289}" dt="2023-04-03T13:46:00.003" v="1993" actId="20577"/>
          <ac:spMkLst>
            <pc:docMk/>
            <pc:sldMk cId="3156463951" sldId="2147310161"/>
            <ac:spMk id="199" creationId="{66AD505F-6851-C148-A7C5-9A74D0278979}"/>
          </ac:spMkLst>
        </pc:spChg>
        <pc:spChg chg="mod">
          <ac:chgData name="Washington Nascimento" userId="f3b9592a5eff0234" providerId="LiveId" clId="{FD02D532-6A69-490F-95BE-03600E714289}" dt="2023-04-03T13:44:15.007" v="1784" actId="20577"/>
          <ac:spMkLst>
            <pc:docMk/>
            <pc:sldMk cId="3156463951" sldId="2147310161"/>
            <ac:spMk id="205" creationId="{DEF3F81F-AD50-924F-8BD0-292597053C18}"/>
          </ac:spMkLst>
        </pc:spChg>
        <pc:spChg chg="mod">
          <ac:chgData name="Washington Nascimento" userId="f3b9592a5eff0234" providerId="LiveId" clId="{FD02D532-6A69-490F-95BE-03600E714289}" dt="2023-04-03T13:46:04.495" v="2012" actId="20577"/>
          <ac:spMkLst>
            <pc:docMk/>
            <pc:sldMk cId="3156463951" sldId="2147310161"/>
            <ac:spMk id="206" creationId="{E6C74D09-F8D5-A949-9BE1-3C35D1B0BC7B}"/>
          </ac:spMkLst>
        </pc:spChg>
        <pc:grpChg chg="mod">
          <ac:chgData name="Washington Nascimento" userId="f3b9592a5eff0234" providerId="LiveId" clId="{FD02D532-6A69-490F-95BE-03600E714289}" dt="2023-04-03T13:47:36.575" v="2101" actId="1038"/>
          <ac:grpSpMkLst>
            <pc:docMk/>
            <pc:sldMk cId="3156463951" sldId="2147310161"/>
            <ac:grpSpMk id="4" creationId="{290E53BF-8995-C04E-900F-4A8A0D7F5E50}"/>
          </ac:grpSpMkLst>
        </pc:grpChg>
        <pc:grpChg chg="mod">
          <ac:chgData name="Washington Nascimento" userId="f3b9592a5eff0234" providerId="LiveId" clId="{FD02D532-6A69-490F-95BE-03600E714289}" dt="2023-04-03T13:47:49.341" v="2104" actId="1076"/>
          <ac:grpSpMkLst>
            <pc:docMk/>
            <pc:sldMk cId="3156463951" sldId="2147310161"/>
            <ac:grpSpMk id="15" creationId="{B042DD2C-8B0B-B048-96CE-7B2461373A59}"/>
          </ac:grpSpMkLst>
        </pc:grpChg>
      </pc:sldChg>
      <pc:sldMasterChg chg="delSldLayout">
        <pc:chgData name="Washington Nascimento" userId="f3b9592a5eff0234" providerId="LiveId" clId="{FD02D532-6A69-490F-95BE-03600E714289}" dt="2023-04-03T13:48:07.311" v="2105" actId="47"/>
        <pc:sldMasterMkLst>
          <pc:docMk/>
          <pc:sldMasterMk cId="727895203" sldId="2147483662"/>
        </pc:sldMasterMkLst>
        <pc:sldLayoutChg chg="del">
          <pc:chgData name="Washington Nascimento" userId="f3b9592a5eff0234" providerId="LiveId" clId="{FD02D532-6A69-490F-95BE-03600E714289}" dt="2023-04-03T13:48:07.311" v="2105" actId="47"/>
          <pc:sldLayoutMkLst>
            <pc:docMk/>
            <pc:sldMasterMk cId="727895203" sldId="2147483662"/>
            <pc:sldLayoutMk cId="1880818268" sldId="2147483835"/>
          </pc:sldLayoutMkLst>
        </pc:sldLayoutChg>
        <pc:sldLayoutChg chg="del">
          <pc:chgData name="Washington Nascimento" userId="f3b9592a5eff0234" providerId="LiveId" clId="{FD02D532-6A69-490F-95BE-03600E714289}" dt="2023-04-03T13:18:59.072" v="1" actId="47"/>
          <pc:sldLayoutMkLst>
            <pc:docMk/>
            <pc:sldMasterMk cId="727895203" sldId="2147483662"/>
            <pc:sldLayoutMk cId="3109035518" sldId="2147483837"/>
          </pc:sldLayoutMkLst>
        </pc:sldLayoutChg>
      </pc:sldMasterChg>
    </pc:docChg>
  </pc:docChgLst>
  <pc:docChgLst>
    <pc:chgData name="Washington Nascimento" userId="f3b9592a5eff0234" providerId="LiveId" clId="{7FE0D410-5DBE-4C82-8919-EF6E7FB771C0}"/>
    <pc:docChg chg="undo custSel delSld modSld sldOrd">
      <pc:chgData name="Washington Nascimento" userId="f3b9592a5eff0234" providerId="LiveId" clId="{7FE0D410-5DBE-4C82-8919-EF6E7FB771C0}" dt="2022-05-17T13:30:35.446" v="25"/>
      <pc:docMkLst>
        <pc:docMk/>
      </pc:docMkLst>
      <pc:sldChg chg="ord">
        <pc:chgData name="Washington Nascimento" userId="f3b9592a5eff0234" providerId="LiveId" clId="{7FE0D410-5DBE-4C82-8919-EF6E7FB771C0}" dt="2022-05-17T13:30:35.446" v="25"/>
        <pc:sldMkLst>
          <pc:docMk/>
          <pc:sldMk cId="1951395890" sldId="399"/>
        </pc:sldMkLst>
      </pc:sldChg>
      <pc:sldChg chg="del">
        <pc:chgData name="Washington Nascimento" userId="f3b9592a5eff0234" providerId="LiveId" clId="{7FE0D410-5DBE-4C82-8919-EF6E7FB771C0}" dt="2022-05-17T13:28:08.588" v="20" actId="47"/>
        <pc:sldMkLst>
          <pc:docMk/>
          <pc:sldMk cId="2271527649" sldId="449"/>
        </pc:sldMkLst>
      </pc:sldChg>
      <pc:sldChg chg="modSp mod ord">
        <pc:chgData name="Washington Nascimento" userId="f3b9592a5eff0234" providerId="LiveId" clId="{7FE0D410-5DBE-4C82-8919-EF6E7FB771C0}" dt="2022-05-17T13:30:24.254" v="23" actId="20577"/>
        <pc:sldMkLst>
          <pc:docMk/>
          <pc:sldMk cId="3970300024" sldId="3135"/>
        </pc:sldMkLst>
        <pc:spChg chg="mod">
          <ac:chgData name="Washington Nascimento" userId="f3b9592a5eff0234" providerId="LiveId" clId="{7FE0D410-5DBE-4C82-8919-EF6E7FB771C0}" dt="2022-05-17T13:30:24.254" v="23" actId="20577"/>
          <ac:spMkLst>
            <pc:docMk/>
            <pc:sldMk cId="3970300024" sldId="3135"/>
            <ac:spMk id="2" creationId="{343968E7-F13B-4925-91B0-64684E489896}"/>
          </ac:spMkLst>
        </pc:spChg>
      </pc:sldChg>
      <pc:sldChg chg="modSp mod">
        <pc:chgData name="Washington Nascimento" userId="f3b9592a5eff0234" providerId="LiveId" clId="{7FE0D410-5DBE-4C82-8919-EF6E7FB771C0}" dt="2022-05-17T13:25:07.467" v="19" actId="20577"/>
        <pc:sldMkLst>
          <pc:docMk/>
          <pc:sldMk cId="1049745715" sldId="3575"/>
        </pc:sldMkLst>
        <pc:spChg chg="mod">
          <ac:chgData name="Washington Nascimento" userId="f3b9592a5eff0234" providerId="LiveId" clId="{7FE0D410-5DBE-4C82-8919-EF6E7FB771C0}" dt="2022-05-17T13:25:07.467" v="19" actId="20577"/>
          <ac:spMkLst>
            <pc:docMk/>
            <pc:sldMk cId="1049745715" sldId="3575"/>
            <ac:spMk id="240" creationId="{A6EE8826-116F-47C6-BC88-763CDBB9DB82}"/>
          </ac:spMkLst>
        </pc:spChg>
        <pc:spChg chg="mod">
          <ac:chgData name="Washington Nascimento" userId="f3b9592a5eff0234" providerId="LiveId" clId="{7FE0D410-5DBE-4C82-8919-EF6E7FB771C0}" dt="2022-05-17T13:25:06.947" v="18" actId="20577"/>
          <ac:spMkLst>
            <pc:docMk/>
            <pc:sldMk cId="1049745715" sldId="3575"/>
            <ac:spMk id="241" creationId="{79A4099E-2D67-48F2-A163-2C05111A2C6B}"/>
          </ac:spMkLst>
        </pc:spChg>
      </pc:sldChg>
    </pc:docChg>
  </pc:docChgLst>
  <pc:docChgLst>
    <pc:chgData name="Washington Nascimento" userId="f3b9592a5eff0234" providerId="LiveId" clId="{538ECF1A-8ECB-4C34-A2D6-3145E71C9EEE}"/>
    <pc:docChg chg="undo custSel addSld delSld modSld sldOrd">
      <pc:chgData name="Washington Nascimento" userId="f3b9592a5eff0234" providerId="LiveId" clId="{538ECF1A-8ECB-4C34-A2D6-3145E71C9EEE}" dt="2023-07-05T18:10:10.463" v="650" actId="2696"/>
      <pc:docMkLst>
        <pc:docMk/>
      </pc:docMkLst>
      <pc:sldChg chg="addSp delSp modSp mod">
        <pc:chgData name="Washington Nascimento" userId="f3b9592a5eff0234" providerId="LiveId" clId="{538ECF1A-8ECB-4C34-A2D6-3145E71C9EEE}" dt="2023-07-05T16:56:42.315" v="64" actId="732"/>
        <pc:sldMkLst>
          <pc:docMk/>
          <pc:sldMk cId="2064857369" sldId="256"/>
        </pc:sldMkLst>
        <pc:picChg chg="mod modCrop">
          <ac:chgData name="Washington Nascimento" userId="f3b9592a5eff0234" providerId="LiveId" clId="{538ECF1A-8ECB-4C34-A2D6-3145E71C9EEE}" dt="2023-07-05T16:56:42.315" v="64" actId="732"/>
          <ac:picMkLst>
            <pc:docMk/>
            <pc:sldMk cId="2064857369" sldId="256"/>
            <ac:picMk id="3" creationId="{EBC35CED-543C-4EB3-8C49-7905BDE960FD}"/>
          </ac:picMkLst>
        </pc:picChg>
        <pc:picChg chg="add mod">
          <ac:chgData name="Washington Nascimento" userId="f3b9592a5eff0234" providerId="LiveId" clId="{538ECF1A-8ECB-4C34-A2D6-3145E71C9EEE}" dt="2023-07-05T14:45:42.672" v="20" actId="1076"/>
          <ac:picMkLst>
            <pc:docMk/>
            <pc:sldMk cId="2064857369" sldId="256"/>
            <ac:picMk id="4" creationId="{677A553B-27DC-6026-A28B-31ABA71D43D0}"/>
          </ac:picMkLst>
        </pc:picChg>
        <pc:picChg chg="del">
          <ac:chgData name="Washington Nascimento" userId="f3b9592a5eff0234" providerId="LiveId" clId="{538ECF1A-8ECB-4C34-A2D6-3145E71C9EEE}" dt="2023-07-05T14:45:05.693" v="9" actId="478"/>
          <ac:picMkLst>
            <pc:docMk/>
            <pc:sldMk cId="2064857369" sldId="256"/>
            <ac:picMk id="8" creationId="{08CB0120-46AA-4C32-93D8-C8835A35464F}"/>
          </ac:picMkLst>
        </pc:picChg>
        <pc:picChg chg="add mod">
          <ac:chgData name="Washington Nascimento" userId="f3b9592a5eff0234" providerId="LiveId" clId="{538ECF1A-8ECB-4C34-A2D6-3145E71C9EEE}" dt="2023-07-05T14:45:34.208" v="18" actId="1076"/>
          <ac:picMkLst>
            <pc:docMk/>
            <pc:sldMk cId="2064857369" sldId="256"/>
            <ac:picMk id="9" creationId="{F75E22B2-D43C-1959-BF55-D24E366A1222}"/>
          </ac:picMkLst>
        </pc:picChg>
      </pc:sldChg>
      <pc:sldChg chg="modSp del mod">
        <pc:chgData name="Washington Nascimento" userId="f3b9592a5eff0234" providerId="LiveId" clId="{538ECF1A-8ECB-4C34-A2D6-3145E71C9EEE}" dt="2023-07-05T17:32:48.302" v="227" actId="47"/>
        <pc:sldMkLst>
          <pc:docMk/>
          <pc:sldMk cId="1951395890" sldId="399"/>
        </pc:sldMkLst>
        <pc:spChg chg="mod">
          <ac:chgData name="Washington Nascimento" userId="f3b9592a5eff0234" providerId="LiveId" clId="{538ECF1A-8ECB-4C34-A2D6-3145E71C9EEE}" dt="2023-07-05T17:32:11.546" v="226" actId="207"/>
          <ac:spMkLst>
            <pc:docMk/>
            <pc:sldMk cId="1951395890" sldId="399"/>
            <ac:spMk id="2" creationId="{00000000-0000-0000-0000-000000000000}"/>
          </ac:spMkLst>
        </pc:spChg>
      </pc:sldChg>
      <pc:sldChg chg="addSp delSp modSp mod">
        <pc:chgData name="Washington Nascimento" userId="f3b9592a5eff0234" providerId="LiveId" clId="{538ECF1A-8ECB-4C34-A2D6-3145E71C9EEE}" dt="2023-07-05T14:46:24.407" v="33" actId="478"/>
        <pc:sldMkLst>
          <pc:docMk/>
          <pc:sldMk cId="2599515355" sldId="476"/>
        </pc:sldMkLst>
        <pc:picChg chg="add del mod">
          <ac:chgData name="Washington Nascimento" userId="f3b9592a5eff0234" providerId="LiveId" clId="{538ECF1A-8ECB-4C34-A2D6-3145E71C9EEE}" dt="2023-07-05T14:46:24.407" v="33" actId="478"/>
          <ac:picMkLst>
            <pc:docMk/>
            <pc:sldMk cId="2599515355" sldId="476"/>
            <ac:picMk id="2" creationId="{C2872A1B-D300-6F01-B18A-C584B8B75D94}"/>
          </ac:picMkLst>
        </pc:picChg>
        <pc:picChg chg="add mod">
          <ac:chgData name="Washington Nascimento" userId="f3b9592a5eff0234" providerId="LiveId" clId="{538ECF1A-8ECB-4C34-A2D6-3145E71C9EEE}" dt="2023-07-05T14:46:23.088" v="31" actId="1076"/>
          <ac:picMkLst>
            <pc:docMk/>
            <pc:sldMk cId="2599515355" sldId="476"/>
            <ac:picMk id="5" creationId="{2CB2CC8D-6E4A-C18E-23C9-FBD67D61AC25}"/>
          </ac:picMkLst>
        </pc:picChg>
      </pc:sldChg>
      <pc:sldChg chg="addSp delSp modSp mod delAnim modAnim">
        <pc:chgData name="Washington Nascimento" userId="f3b9592a5eff0234" providerId="LiveId" clId="{538ECF1A-8ECB-4C34-A2D6-3145E71C9EEE}" dt="2023-07-05T17:41:38.111" v="544"/>
        <pc:sldMkLst>
          <pc:docMk/>
          <pc:sldMk cId="3960296033" sldId="680"/>
        </pc:sldMkLst>
        <pc:spChg chg="add del mod">
          <ac:chgData name="Washington Nascimento" userId="f3b9592a5eff0234" providerId="LiveId" clId="{538ECF1A-8ECB-4C34-A2D6-3145E71C9EEE}" dt="2023-07-05T17:19:06.940" v="98" actId="478"/>
          <ac:spMkLst>
            <pc:docMk/>
            <pc:sldMk cId="3960296033" sldId="680"/>
            <ac:spMk id="5" creationId="{A10B5084-141F-F681-D3CA-64C73D4A47C8}"/>
          </ac:spMkLst>
        </pc:spChg>
        <pc:spChg chg="mod">
          <ac:chgData name="Washington Nascimento" userId="f3b9592a5eff0234" providerId="LiveId" clId="{538ECF1A-8ECB-4C34-A2D6-3145E71C9EEE}" dt="2023-07-05T17:29:59.005" v="223" actId="1076"/>
          <ac:spMkLst>
            <pc:docMk/>
            <pc:sldMk cId="3960296033" sldId="680"/>
            <ac:spMk id="7" creationId="{FD173272-8660-FE4C-867D-8F39E29919B5}"/>
          </ac:spMkLst>
        </pc:spChg>
        <pc:spChg chg="add del mod ord">
          <ac:chgData name="Washington Nascimento" userId="f3b9592a5eff0234" providerId="LiveId" clId="{538ECF1A-8ECB-4C34-A2D6-3145E71C9EEE}" dt="2023-07-05T17:28:31.999" v="137"/>
          <ac:spMkLst>
            <pc:docMk/>
            <pc:sldMk cId="3960296033" sldId="680"/>
            <ac:spMk id="8" creationId="{205E5E20-11FE-0225-65C5-CC7C9F87A274}"/>
          </ac:spMkLst>
        </pc:spChg>
        <pc:spChg chg="mod">
          <ac:chgData name="Washington Nascimento" userId="f3b9592a5eff0234" providerId="LiveId" clId="{538ECF1A-8ECB-4C34-A2D6-3145E71C9EEE}" dt="2023-07-05T17:39:03.804" v="537" actId="1076"/>
          <ac:spMkLst>
            <pc:docMk/>
            <pc:sldMk cId="3960296033" sldId="680"/>
            <ac:spMk id="9" creationId="{F67ED082-869B-C54C-B416-8E2569C40181}"/>
          </ac:spMkLst>
        </pc:spChg>
        <pc:spChg chg="add mod">
          <ac:chgData name="Washington Nascimento" userId="f3b9592a5eff0234" providerId="LiveId" clId="{538ECF1A-8ECB-4C34-A2D6-3145E71C9EEE}" dt="2023-07-05T17:29:59.005" v="223" actId="1076"/>
          <ac:spMkLst>
            <pc:docMk/>
            <pc:sldMk cId="3960296033" sldId="680"/>
            <ac:spMk id="17" creationId="{26718803-B4D5-8A60-4B41-4C90A0CCCD5B}"/>
          </ac:spMkLst>
        </pc:spChg>
        <pc:picChg chg="add del mod">
          <ac:chgData name="Washington Nascimento" userId="f3b9592a5eff0234" providerId="LiveId" clId="{538ECF1A-8ECB-4C34-A2D6-3145E71C9EEE}" dt="2023-07-05T17:18:52.141" v="93" actId="478"/>
          <ac:picMkLst>
            <pc:docMk/>
            <pc:sldMk cId="3960296033" sldId="680"/>
            <ac:picMk id="2" creationId="{22BE60B5-928E-8DB4-A675-3E0815328F47}"/>
          </ac:picMkLst>
        </pc:picChg>
        <pc:picChg chg="add mod">
          <ac:chgData name="Washington Nascimento" userId="f3b9592a5eff0234" providerId="LiveId" clId="{538ECF1A-8ECB-4C34-A2D6-3145E71C9EEE}" dt="2023-07-05T17:39:19.627" v="542" actId="1076"/>
          <ac:picMkLst>
            <pc:docMk/>
            <pc:sldMk cId="3960296033" sldId="680"/>
            <ac:picMk id="3" creationId="{16B4D23A-79A6-973D-A4E9-0FC2F22BD18D}"/>
          </ac:picMkLst>
        </pc:picChg>
        <pc:picChg chg="mod">
          <ac:chgData name="Washington Nascimento" userId="f3b9592a5eff0234" providerId="LiveId" clId="{538ECF1A-8ECB-4C34-A2D6-3145E71C9EEE}" dt="2023-07-05T17:39:03.804" v="537" actId="1076"/>
          <ac:picMkLst>
            <pc:docMk/>
            <pc:sldMk cId="3960296033" sldId="680"/>
            <ac:picMk id="10" creationId="{7D5A1328-A690-604E-B7E5-AFF9D2936A60}"/>
          </ac:picMkLst>
        </pc:picChg>
        <pc:picChg chg="mod">
          <ac:chgData name="Washington Nascimento" userId="f3b9592a5eff0234" providerId="LiveId" clId="{538ECF1A-8ECB-4C34-A2D6-3145E71C9EEE}" dt="2023-07-05T17:39:03.804" v="537" actId="1076"/>
          <ac:picMkLst>
            <pc:docMk/>
            <pc:sldMk cId="3960296033" sldId="680"/>
            <ac:picMk id="11" creationId="{3595A39A-A6B6-4546-BB34-D3FBC20CBDE1}"/>
          </ac:picMkLst>
        </pc:picChg>
        <pc:picChg chg="mod">
          <ac:chgData name="Washington Nascimento" userId="f3b9592a5eff0234" providerId="LiveId" clId="{538ECF1A-8ECB-4C34-A2D6-3145E71C9EEE}" dt="2023-07-05T17:39:03.804" v="537" actId="1076"/>
          <ac:picMkLst>
            <pc:docMk/>
            <pc:sldMk cId="3960296033" sldId="680"/>
            <ac:picMk id="12" creationId="{18EFF759-614C-0C41-B8C4-FE36FC873FC1}"/>
          </ac:picMkLst>
        </pc:picChg>
        <pc:picChg chg="mod">
          <ac:chgData name="Washington Nascimento" userId="f3b9592a5eff0234" providerId="LiveId" clId="{538ECF1A-8ECB-4C34-A2D6-3145E71C9EEE}" dt="2023-07-05T17:39:03.804" v="537" actId="1076"/>
          <ac:picMkLst>
            <pc:docMk/>
            <pc:sldMk cId="3960296033" sldId="680"/>
            <ac:picMk id="13" creationId="{3E160091-4619-9D4C-A087-5A3314264230}"/>
          </ac:picMkLst>
        </pc:picChg>
        <pc:picChg chg="del mod">
          <ac:chgData name="Washington Nascimento" userId="f3b9592a5eff0234" providerId="LiveId" clId="{538ECF1A-8ECB-4C34-A2D6-3145E71C9EEE}" dt="2023-07-05T17:19:05.333" v="97" actId="478"/>
          <ac:picMkLst>
            <pc:docMk/>
            <pc:sldMk cId="3960296033" sldId="680"/>
            <ac:picMk id="14" creationId="{DF2705DF-49E8-F547-9499-8545B4520242}"/>
          </ac:picMkLst>
        </pc:picChg>
        <pc:picChg chg="mod">
          <ac:chgData name="Washington Nascimento" userId="f3b9592a5eff0234" providerId="LiveId" clId="{538ECF1A-8ECB-4C34-A2D6-3145E71C9EEE}" dt="2023-07-05T17:39:03.804" v="537" actId="1076"/>
          <ac:picMkLst>
            <pc:docMk/>
            <pc:sldMk cId="3960296033" sldId="680"/>
            <ac:picMk id="16" creationId="{04DCE16E-DB10-0240-9A6B-850C7784FA6A}"/>
          </ac:picMkLst>
        </pc:picChg>
        <pc:picChg chg="add mod">
          <ac:chgData name="Washington Nascimento" userId="f3b9592a5eff0234" providerId="LiveId" clId="{538ECF1A-8ECB-4C34-A2D6-3145E71C9EEE}" dt="2023-07-05T17:41:38.111" v="544"/>
          <ac:picMkLst>
            <pc:docMk/>
            <pc:sldMk cId="3960296033" sldId="680"/>
            <ac:picMk id="18" creationId="{1AA1E6DC-A3CF-C583-671C-D395A8C3F309}"/>
          </ac:picMkLst>
        </pc:picChg>
      </pc:sldChg>
      <pc:sldChg chg="addSp delSp modSp mod">
        <pc:chgData name="Washington Nascimento" userId="f3b9592a5eff0234" providerId="LiveId" clId="{538ECF1A-8ECB-4C34-A2D6-3145E71C9EEE}" dt="2023-07-05T17:42:16.300" v="553" actId="1076"/>
        <pc:sldMkLst>
          <pc:docMk/>
          <pc:sldMk cId="2548864621" sldId="695"/>
        </pc:sldMkLst>
        <pc:picChg chg="add mod">
          <ac:chgData name="Washington Nascimento" userId="f3b9592a5eff0234" providerId="LiveId" clId="{538ECF1A-8ECB-4C34-A2D6-3145E71C9EEE}" dt="2023-07-05T17:42:16.300" v="553" actId="1076"/>
          <ac:picMkLst>
            <pc:docMk/>
            <pc:sldMk cId="2548864621" sldId="695"/>
            <ac:picMk id="2" creationId="{6C77AEF7-21D0-C448-AC87-441DFE3AA3B2}"/>
          </ac:picMkLst>
        </pc:picChg>
        <pc:picChg chg="del">
          <ac:chgData name="Washington Nascimento" userId="f3b9592a5eff0234" providerId="LiveId" clId="{538ECF1A-8ECB-4C34-A2D6-3145E71C9EEE}" dt="2023-07-05T17:42:12.991" v="551" actId="478"/>
          <ac:picMkLst>
            <pc:docMk/>
            <pc:sldMk cId="2548864621" sldId="695"/>
            <ac:picMk id="10" creationId="{85683074-D36C-4EE0-B051-1028637337ED}"/>
          </ac:picMkLst>
        </pc:picChg>
      </pc:sldChg>
      <pc:sldChg chg="addSp modSp mod">
        <pc:chgData name="Washington Nascimento" userId="f3b9592a5eff0234" providerId="LiveId" clId="{538ECF1A-8ECB-4C34-A2D6-3145E71C9EEE}" dt="2023-07-05T18:02:49.382" v="567" actId="113"/>
        <pc:sldMkLst>
          <pc:docMk/>
          <pc:sldMk cId="1946785316" sldId="696"/>
        </pc:sldMkLst>
        <pc:spChg chg="mod">
          <ac:chgData name="Washington Nascimento" userId="f3b9592a5eff0234" providerId="LiveId" clId="{538ECF1A-8ECB-4C34-A2D6-3145E71C9EEE}" dt="2023-07-05T18:02:49.382" v="567" actId="113"/>
          <ac:spMkLst>
            <pc:docMk/>
            <pc:sldMk cId="1946785316" sldId="696"/>
            <ac:spMk id="5" creationId="{9115B5FF-F906-46DA-B523-E9F340326CF9}"/>
          </ac:spMkLst>
        </pc:spChg>
        <pc:picChg chg="add mod">
          <ac:chgData name="Washington Nascimento" userId="f3b9592a5eff0234" providerId="LiveId" clId="{538ECF1A-8ECB-4C34-A2D6-3145E71C9EEE}" dt="2023-07-05T17:41:48.615" v="546"/>
          <ac:picMkLst>
            <pc:docMk/>
            <pc:sldMk cId="1946785316" sldId="696"/>
            <ac:picMk id="2" creationId="{4B5099E1-A3FB-59B4-C1AE-B837380077EA}"/>
          </ac:picMkLst>
        </pc:picChg>
      </pc:sldChg>
      <pc:sldChg chg="addSp delSp modSp mod">
        <pc:chgData name="Washington Nascimento" userId="f3b9592a5eff0234" providerId="LiveId" clId="{538ECF1A-8ECB-4C34-A2D6-3145E71C9EEE}" dt="2023-07-05T17:42:08.736" v="550" actId="1076"/>
        <pc:sldMkLst>
          <pc:docMk/>
          <pc:sldMk cId="1364678979" sldId="697"/>
        </pc:sldMkLst>
        <pc:spChg chg="add del mod">
          <ac:chgData name="Washington Nascimento" userId="f3b9592a5eff0234" providerId="LiveId" clId="{538ECF1A-8ECB-4C34-A2D6-3145E71C9EEE}" dt="2023-07-05T17:26:39.830" v="127" actId="478"/>
          <ac:spMkLst>
            <pc:docMk/>
            <pc:sldMk cId="1364678979" sldId="697"/>
            <ac:spMk id="6" creationId="{AF1FF83C-D277-8F3A-28D2-0ACDFD1DEA91}"/>
          </ac:spMkLst>
        </pc:spChg>
        <pc:spChg chg="mod">
          <ac:chgData name="Washington Nascimento" userId="f3b9592a5eff0234" providerId="LiveId" clId="{538ECF1A-8ECB-4C34-A2D6-3145E71C9EEE}" dt="2023-07-05T17:26:54.776" v="128" actId="207"/>
          <ac:spMkLst>
            <pc:docMk/>
            <pc:sldMk cId="1364678979" sldId="697"/>
            <ac:spMk id="10" creationId="{ECEFE55D-3DB6-4182-AEDE-3AF2AF425F51}"/>
          </ac:spMkLst>
        </pc:spChg>
        <pc:picChg chg="add mod">
          <ac:chgData name="Washington Nascimento" userId="f3b9592a5eff0234" providerId="LiveId" clId="{538ECF1A-8ECB-4C34-A2D6-3145E71C9EEE}" dt="2023-07-05T17:42:08.736" v="550" actId="1076"/>
          <ac:picMkLst>
            <pc:docMk/>
            <pc:sldMk cId="1364678979" sldId="697"/>
            <ac:picMk id="7" creationId="{DB6DDD7C-DC9B-6CE7-49C8-B781151029F4}"/>
          </ac:picMkLst>
        </pc:picChg>
      </pc:sldChg>
      <pc:sldChg chg="addSp modSp mod">
        <pc:chgData name="Washington Nascimento" userId="f3b9592a5eff0234" providerId="LiveId" clId="{538ECF1A-8ECB-4C34-A2D6-3145E71C9EEE}" dt="2023-07-05T17:42:24.296" v="555" actId="1076"/>
        <pc:sldMkLst>
          <pc:docMk/>
          <pc:sldMk cId="2731384041" sldId="698"/>
        </pc:sldMkLst>
        <pc:picChg chg="add mod">
          <ac:chgData name="Washington Nascimento" userId="f3b9592a5eff0234" providerId="LiveId" clId="{538ECF1A-8ECB-4C34-A2D6-3145E71C9EEE}" dt="2023-07-05T17:42:24.296" v="555" actId="1076"/>
          <ac:picMkLst>
            <pc:docMk/>
            <pc:sldMk cId="2731384041" sldId="698"/>
            <ac:picMk id="3" creationId="{BF9D8E77-9A5D-EF69-082F-6014459B9BA7}"/>
          </ac:picMkLst>
        </pc:picChg>
      </pc:sldChg>
      <pc:sldChg chg="addSp modSp mod">
        <pc:chgData name="Washington Nascimento" userId="f3b9592a5eff0234" providerId="LiveId" clId="{538ECF1A-8ECB-4C34-A2D6-3145E71C9EEE}" dt="2023-07-05T18:02:38.401" v="565" actId="207"/>
        <pc:sldMkLst>
          <pc:docMk/>
          <pc:sldMk cId="3970300024" sldId="3135"/>
        </pc:sldMkLst>
        <pc:spChg chg="mod">
          <ac:chgData name="Washington Nascimento" userId="f3b9592a5eff0234" providerId="LiveId" clId="{538ECF1A-8ECB-4C34-A2D6-3145E71C9EEE}" dt="2023-07-05T18:02:38.401" v="565" actId="207"/>
          <ac:spMkLst>
            <pc:docMk/>
            <pc:sldMk cId="3970300024" sldId="3135"/>
            <ac:spMk id="2" creationId="{343968E7-F13B-4925-91B0-64684E489896}"/>
          </ac:spMkLst>
        </pc:spChg>
        <pc:picChg chg="add mod">
          <ac:chgData name="Washington Nascimento" userId="f3b9592a5eff0234" providerId="LiveId" clId="{538ECF1A-8ECB-4C34-A2D6-3145E71C9EEE}" dt="2023-07-05T17:41:43.928" v="545"/>
          <ac:picMkLst>
            <pc:docMk/>
            <pc:sldMk cId="3970300024" sldId="3135"/>
            <ac:picMk id="3" creationId="{09EC6158-7861-8911-EE42-213188FB2477}"/>
          </ac:picMkLst>
        </pc:picChg>
      </pc:sldChg>
      <pc:sldChg chg="addSp modSp mod">
        <pc:chgData name="Washington Nascimento" userId="f3b9592a5eff0234" providerId="LiveId" clId="{538ECF1A-8ECB-4C34-A2D6-3145E71C9EEE}" dt="2023-07-05T18:01:34.421" v="561" actId="207"/>
        <pc:sldMkLst>
          <pc:docMk/>
          <pc:sldMk cId="2513042233" sldId="3391"/>
        </pc:sldMkLst>
        <pc:spChg chg="add mod">
          <ac:chgData name="Washington Nascimento" userId="f3b9592a5eff0234" providerId="LiveId" clId="{538ECF1A-8ECB-4C34-A2D6-3145E71C9EEE}" dt="2023-07-05T17:29:36.539" v="219" actId="1076"/>
          <ac:spMkLst>
            <pc:docMk/>
            <pc:sldMk cId="2513042233" sldId="3391"/>
            <ac:spMk id="5" creationId="{AA94E4D6-F692-15B3-9AAF-FEE3BC65748A}"/>
          </ac:spMkLst>
        </pc:spChg>
        <pc:spChg chg="mod">
          <ac:chgData name="Washington Nascimento" userId="f3b9592a5eff0234" providerId="LiveId" clId="{538ECF1A-8ECB-4C34-A2D6-3145E71C9EEE}" dt="2023-07-05T18:01:27.864" v="559" actId="207"/>
          <ac:spMkLst>
            <pc:docMk/>
            <pc:sldMk cId="2513042233" sldId="3391"/>
            <ac:spMk id="7" creationId="{1CAE19F0-87C0-CA4B-B08B-9DA86600B05F}"/>
          </ac:spMkLst>
        </pc:spChg>
        <pc:spChg chg="mod">
          <ac:chgData name="Washington Nascimento" userId="f3b9592a5eff0234" providerId="LiveId" clId="{538ECF1A-8ECB-4C34-A2D6-3145E71C9EEE}" dt="2023-07-05T17:29:32.303" v="218" actId="1076"/>
          <ac:spMkLst>
            <pc:docMk/>
            <pc:sldMk cId="2513042233" sldId="3391"/>
            <ac:spMk id="35" creationId="{D0D5F73B-3A02-49CC-B495-8602DDD2D651}"/>
          </ac:spMkLst>
        </pc:spChg>
        <pc:spChg chg="mod">
          <ac:chgData name="Washington Nascimento" userId="f3b9592a5eff0234" providerId="LiveId" clId="{538ECF1A-8ECB-4C34-A2D6-3145E71C9EEE}" dt="2023-07-05T18:01:32.530" v="560" actId="207"/>
          <ac:spMkLst>
            <pc:docMk/>
            <pc:sldMk cId="2513042233" sldId="3391"/>
            <ac:spMk id="50" creationId="{094FDBA8-1631-9041-8508-63B8D20AFCA7}"/>
          </ac:spMkLst>
        </pc:spChg>
        <pc:spChg chg="mod">
          <ac:chgData name="Washington Nascimento" userId="f3b9592a5eff0234" providerId="LiveId" clId="{538ECF1A-8ECB-4C34-A2D6-3145E71C9EEE}" dt="2023-07-05T18:01:34.421" v="561" actId="207"/>
          <ac:spMkLst>
            <pc:docMk/>
            <pc:sldMk cId="2513042233" sldId="3391"/>
            <ac:spMk id="52" creationId="{22674399-5440-9A42-AFB0-4A34A042C5F1}"/>
          </ac:spMkLst>
        </pc:spChg>
        <pc:picChg chg="add mod">
          <ac:chgData name="Washington Nascimento" userId="f3b9592a5eff0234" providerId="LiveId" clId="{538ECF1A-8ECB-4C34-A2D6-3145E71C9EEE}" dt="2023-07-05T14:47:11.172" v="48"/>
          <ac:picMkLst>
            <pc:docMk/>
            <pc:sldMk cId="2513042233" sldId="3391"/>
            <ac:picMk id="2" creationId="{9C9BE966-634C-C176-1575-BDCF64805851}"/>
          </ac:picMkLst>
        </pc:picChg>
      </pc:sldChg>
      <pc:sldChg chg="addSp modSp mod">
        <pc:chgData name="Washington Nascimento" userId="f3b9592a5eff0234" providerId="LiveId" clId="{538ECF1A-8ECB-4C34-A2D6-3145E71C9EEE}" dt="2023-07-05T16:58:03.641" v="89" actId="108"/>
        <pc:sldMkLst>
          <pc:docMk/>
          <pc:sldMk cId="1049745715" sldId="3575"/>
        </pc:sldMkLst>
        <pc:spChg chg="mod">
          <ac:chgData name="Washington Nascimento" userId="f3b9592a5eff0234" providerId="LiveId" clId="{538ECF1A-8ECB-4C34-A2D6-3145E71C9EEE}" dt="2023-07-05T16:58:03.641" v="89" actId="108"/>
          <ac:spMkLst>
            <pc:docMk/>
            <pc:sldMk cId="1049745715" sldId="3575"/>
            <ac:spMk id="30" creationId="{D8431ED8-80CC-4685-87B5-85F5DFC072DC}"/>
          </ac:spMkLst>
        </pc:spChg>
        <pc:picChg chg="add mod">
          <ac:chgData name="Washington Nascimento" userId="f3b9592a5eff0234" providerId="LiveId" clId="{538ECF1A-8ECB-4C34-A2D6-3145E71C9EEE}" dt="2023-07-05T14:47:07.642" v="47"/>
          <ac:picMkLst>
            <pc:docMk/>
            <pc:sldMk cId="1049745715" sldId="3575"/>
            <ac:picMk id="2" creationId="{6AC0045A-8511-62C7-5FC1-1A0E524A73E5}"/>
          </ac:picMkLst>
        </pc:picChg>
      </pc:sldChg>
      <pc:sldChg chg="addSp modSp mod">
        <pc:chgData name="Washington Nascimento" userId="f3b9592a5eff0234" providerId="LiveId" clId="{538ECF1A-8ECB-4C34-A2D6-3145E71C9EEE}" dt="2023-07-05T14:46:03.761" v="25" actId="1076"/>
        <pc:sldMkLst>
          <pc:docMk/>
          <pc:sldMk cId="2895758551" sldId="10109"/>
        </pc:sldMkLst>
        <pc:picChg chg="add mod">
          <ac:chgData name="Washington Nascimento" userId="f3b9592a5eff0234" providerId="LiveId" clId="{538ECF1A-8ECB-4C34-A2D6-3145E71C9EEE}" dt="2023-07-05T14:46:03.761" v="25" actId="1076"/>
          <ac:picMkLst>
            <pc:docMk/>
            <pc:sldMk cId="2895758551" sldId="10109"/>
            <ac:picMk id="3" creationId="{6E3B8E69-9020-D601-127B-341DDB59C55E}"/>
          </ac:picMkLst>
        </pc:picChg>
      </pc:sldChg>
      <pc:sldChg chg="addSp delSp mod">
        <pc:chgData name="Washington Nascimento" userId="f3b9592a5eff0234" providerId="LiveId" clId="{538ECF1A-8ECB-4C34-A2D6-3145E71C9EEE}" dt="2023-07-05T17:42:29.925" v="557" actId="478"/>
        <pc:sldMkLst>
          <pc:docMk/>
          <pc:sldMk cId="2653474294" sldId="10110"/>
        </pc:sldMkLst>
        <pc:picChg chg="add del">
          <ac:chgData name="Washington Nascimento" userId="f3b9592a5eff0234" providerId="LiveId" clId="{538ECF1A-8ECB-4C34-A2D6-3145E71C9EEE}" dt="2023-07-05T17:42:29.925" v="557" actId="478"/>
          <ac:picMkLst>
            <pc:docMk/>
            <pc:sldMk cId="2653474294" sldId="10110"/>
            <ac:picMk id="11" creationId="{DC782F57-EE46-4DC6-B277-915070352427}"/>
          </ac:picMkLst>
        </pc:picChg>
      </pc:sldChg>
      <pc:sldChg chg="addSp delSp modSp mod ord modShow">
        <pc:chgData name="Washington Nascimento" userId="f3b9592a5eff0234" providerId="LiveId" clId="{538ECF1A-8ECB-4C34-A2D6-3145E71C9EEE}" dt="2023-07-05T18:03:12.896" v="571"/>
        <pc:sldMkLst>
          <pc:docMk/>
          <pc:sldMk cId="4073095929" sldId="2076136752"/>
        </pc:sldMkLst>
        <pc:spChg chg="mod">
          <ac:chgData name="Washington Nascimento" userId="f3b9592a5eff0234" providerId="LiveId" clId="{538ECF1A-8ECB-4C34-A2D6-3145E71C9EEE}" dt="2023-07-05T18:03:02.520" v="569" actId="1076"/>
          <ac:spMkLst>
            <pc:docMk/>
            <pc:sldMk cId="4073095929" sldId="2076136752"/>
            <ac:spMk id="4" creationId="{F6B64C8B-195D-4A76-8C35-B1F59CEAC839}"/>
          </ac:spMkLst>
        </pc:spChg>
        <pc:spChg chg="mod">
          <ac:chgData name="Washington Nascimento" userId="f3b9592a5eff0234" providerId="LiveId" clId="{538ECF1A-8ECB-4C34-A2D6-3145E71C9EEE}" dt="2023-07-05T17:34:24.554" v="446" actId="1076"/>
          <ac:spMkLst>
            <pc:docMk/>
            <pc:sldMk cId="4073095929" sldId="2076136752"/>
            <ac:spMk id="16" creationId="{96A7BD95-77A8-496D-B9FE-CE20B8BAC9C5}"/>
          </ac:spMkLst>
        </pc:spChg>
        <pc:spChg chg="mod">
          <ac:chgData name="Washington Nascimento" userId="f3b9592a5eff0234" providerId="LiveId" clId="{538ECF1A-8ECB-4C34-A2D6-3145E71C9EEE}" dt="2023-07-05T17:34:42.192" v="472" actId="20577"/>
          <ac:spMkLst>
            <pc:docMk/>
            <pc:sldMk cId="4073095929" sldId="2076136752"/>
            <ac:spMk id="17" creationId="{5458AD68-4FA0-45E9-9ECC-057A9B264340}"/>
          </ac:spMkLst>
        </pc:spChg>
        <pc:spChg chg="mod">
          <ac:chgData name="Washington Nascimento" userId="f3b9592a5eff0234" providerId="LiveId" clId="{538ECF1A-8ECB-4C34-A2D6-3145E71C9EEE}" dt="2023-07-05T17:33:49.825" v="363" actId="20577"/>
          <ac:spMkLst>
            <pc:docMk/>
            <pc:sldMk cId="4073095929" sldId="2076136752"/>
            <ac:spMk id="18" creationId="{BDD112DE-8EF7-414F-9BA5-CDF82364B3CD}"/>
          </ac:spMkLst>
        </pc:spChg>
        <pc:spChg chg="mod">
          <ac:chgData name="Washington Nascimento" userId="f3b9592a5eff0234" providerId="LiveId" clId="{538ECF1A-8ECB-4C34-A2D6-3145E71C9EEE}" dt="2023-07-05T17:36:11.721" v="531" actId="20577"/>
          <ac:spMkLst>
            <pc:docMk/>
            <pc:sldMk cId="4073095929" sldId="2076136752"/>
            <ac:spMk id="21" creationId="{81DCEDE4-AD83-E74B-B269-7911171E281B}"/>
          </ac:spMkLst>
        </pc:spChg>
        <pc:picChg chg="add del mod">
          <ac:chgData name="Washington Nascimento" userId="f3b9592a5eff0234" providerId="LiveId" clId="{538ECF1A-8ECB-4C34-A2D6-3145E71C9EEE}" dt="2023-07-05T17:42:01.314" v="548"/>
          <ac:picMkLst>
            <pc:docMk/>
            <pc:sldMk cId="4073095929" sldId="2076136752"/>
            <ac:picMk id="2" creationId="{6400FD18-1141-15BF-DC04-54BD69D41BC7}"/>
          </ac:picMkLst>
        </pc:picChg>
        <pc:picChg chg="add mod">
          <ac:chgData name="Washington Nascimento" userId="f3b9592a5eff0234" providerId="LiveId" clId="{538ECF1A-8ECB-4C34-A2D6-3145E71C9EEE}" dt="2023-07-05T18:03:07.428" v="570"/>
          <ac:picMkLst>
            <pc:docMk/>
            <pc:sldMk cId="4073095929" sldId="2076136752"/>
            <ac:picMk id="3" creationId="{ED4F970C-303E-CBB7-8A97-22FFB8F3A433}"/>
          </ac:picMkLst>
        </pc:picChg>
        <pc:picChg chg="add mod">
          <ac:chgData name="Washington Nascimento" userId="f3b9592a5eff0234" providerId="LiveId" clId="{538ECF1A-8ECB-4C34-A2D6-3145E71C9EEE}" dt="2023-07-05T18:03:12.896" v="571"/>
          <ac:picMkLst>
            <pc:docMk/>
            <pc:sldMk cId="4073095929" sldId="2076136752"/>
            <ac:picMk id="6" creationId="{9170F104-69DC-72BE-AEE6-2688895112DC}"/>
          </ac:picMkLst>
        </pc:picChg>
        <pc:picChg chg="mod">
          <ac:chgData name="Washington Nascimento" userId="f3b9592a5eff0234" providerId="LiveId" clId="{538ECF1A-8ECB-4C34-A2D6-3145E71C9EEE}" dt="2023-07-05T17:35:40.305" v="524" actId="1076"/>
          <ac:picMkLst>
            <pc:docMk/>
            <pc:sldMk cId="4073095929" sldId="2076136752"/>
            <ac:picMk id="8" creationId="{C72314E0-F894-9B42-AD6C-20B43A0516FC}"/>
          </ac:picMkLst>
        </pc:picChg>
        <pc:picChg chg="mod">
          <ac:chgData name="Washington Nascimento" userId="f3b9592a5eff0234" providerId="LiveId" clId="{538ECF1A-8ECB-4C34-A2D6-3145E71C9EEE}" dt="2023-07-05T17:35:27.498" v="522" actId="1076"/>
          <ac:picMkLst>
            <pc:docMk/>
            <pc:sldMk cId="4073095929" sldId="2076136752"/>
            <ac:picMk id="9" creationId="{F35DAFCB-2686-0340-9A39-F05CF5CEA12D}"/>
          </ac:picMkLst>
        </pc:picChg>
      </pc:sldChg>
      <pc:sldChg chg="addSp modSp">
        <pc:chgData name="Washington Nascimento" userId="f3b9592a5eff0234" providerId="LiveId" clId="{538ECF1A-8ECB-4C34-A2D6-3145E71C9EEE}" dt="2023-07-05T14:46:54.198" v="39"/>
        <pc:sldMkLst>
          <pc:docMk/>
          <pc:sldMk cId="3331628522" sldId="2147310107"/>
        </pc:sldMkLst>
        <pc:picChg chg="add mod">
          <ac:chgData name="Washington Nascimento" userId="f3b9592a5eff0234" providerId="LiveId" clId="{538ECF1A-8ECB-4C34-A2D6-3145E71C9EEE}" dt="2023-07-05T14:46:54.198" v="39"/>
          <ac:picMkLst>
            <pc:docMk/>
            <pc:sldMk cId="3331628522" sldId="2147310107"/>
            <ac:picMk id="4" creationId="{7CF0855F-ACCE-1217-A795-02305896EB6C}"/>
          </ac:picMkLst>
        </pc:picChg>
      </pc:sldChg>
      <pc:sldChg chg="addSp modSp">
        <pc:chgData name="Washington Nascimento" userId="f3b9592a5eff0234" providerId="LiveId" clId="{538ECF1A-8ECB-4C34-A2D6-3145E71C9EEE}" dt="2023-07-05T14:46:55.930" v="40"/>
        <pc:sldMkLst>
          <pc:docMk/>
          <pc:sldMk cId="494391734" sldId="2147310108"/>
        </pc:sldMkLst>
        <pc:picChg chg="add mod">
          <ac:chgData name="Washington Nascimento" userId="f3b9592a5eff0234" providerId="LiveId" clId="{538ECF1A-8ECB-4C34-A2D6-3145E71C9EEE}" dt="2023-07-05T14:46:55.930" v="40"/>
          <ac:picMkLst>
            <pc:docMk/>
            <pc:sldMk cId="494391734" sldId="2147310108"/>
            <ac:picMk id="4" creationId="{6F3BD166-93A5-F865-3AF9-00AC3F05A102}"/>
          </ac:picMkLst>
        </pc:picChg>
      </pc:sldChg>
      <pc:sldChg chg="addSp modSp">
        <pc:chgData name="Washington Nascimento" userId="f3b9592a5eff0234" providerId="LiveId" clId="{538ECF1A-8ECB-4C34-A2D6-3145E71C9EEE}" dt="2023-07-05T14:46:57.593" v="41"/>
        <pc:sldMkLst>
          <pc:docMk/>
          <pc:sldMk cId="1216570884" sldId="2147310109"/>
        </pc:sldMkLst>
        <pc:picChg chg="add mod">
          <ac:chgData name="Washington Nascimento" userId="f3b9592a5eff0234" providerId="LiveId" clId="{538ECF1A-8ECB-4C34-A2D6-3145E71C9EEE}" dt="2023-07-05T14:46:57.593" v="41"/>
          <ac:picMkLst>
            <pc:docMk/>
            <pc:sldMk cId="1216570884" sldId="2147310109"/>
            <ac:picMk id="4" creationId="{728D4F71-4F95-A4D4-908F-29B36596B5D0}"/>
          </ac:picMkLst>
        </pc:picChg>
      </pc:sldChg>
      <pc:sldChg chg="addSp modSp">
        <pc:chgData name="Washington Nascimento" userId="f3b9592a5eff0234" providerId="LiveId" clId="{538ECF1A-8ECB-4C34-A2D6-3145E71C9EEE}" dt="2023-07-05T14:46:58.235" v="42"/>
        <pc:sldMkLst>
          <pc:docMk/>
          <pc:sldMk cId="1519585968" sldId="2147310110"/>
        </pc:sldMkLst>
        <pc:picChg chg="add mod">
          <ac:chgData name="Washington Nascimento" userId="f3b9592a5eff0234" providerId="LiveId" clId="{538ECF1A-8ECB-4C34-A2D6-3145E71C9EEE}" dt="2023-07-05T14:46:58.235" v="42"/>
          <ac:picMkLst>
            <pc:docMk/>
            <pc:sldMk cId="1519585968" sldId="2147310110"/>
            <ac:picMk id="4" creationId="{3A88B673-AA93-6D33-254E-F41C6473F488}"/>
          </ac:picMkLst>
        </pc:picChg>
      </pc:sldChg>
      <pc:sldChg chg="addSp modSp">
        <pc:chgData name="Washington Nascimento" userId="f3b9592a5eff0234" providerId="LiveId" clId="{538ECF1A-8ECB-4C34-A2D6-3145E71C9EEE}" dt="2023-07-05T14:46:58.979" v="43"/>
        <pc:sldMkLst>
          <pc:docMk/>
          <pc:sldMk cId="3143575955" sldId="2147310112"/>
        </pc:sldMkLst>
        <pc:picChg chg="add mod">
          <ac:chgData name="Washington Nascimento" userId="f3b9592a5eff0234" providerId="LiveId" clId="{538ECF1A-8ECB-4C34-A2D6-3145E71C9EEE}" dt="2023-07-05T14:46:58.979" v="43"/>
          <ac:picMkLst>
            <pc:docMk/>
            <pc:sldMk cId="3143575955" sldId="2147310112"/>
            <ac:picMk id="4" creationId="{2DC24758-7660-2DEE-AC8D-DF76DA4CC237}"/>
          </ac:picMkLst>
        </pc:picChg>
      </pc:sldChg>
      <pc:sldChg chg="addSp modSp">
        <pc:chgData name="Washington Nascimento" userId="f3b9592a5eff0234" providerId="LiveId" clId="{538ECF1A-8ECB-4C34-A2D6-3145E71C9EEE}" dt="2023-07-05T14:47:01.882" v="44"/>
        <pc:sldMkLst>
          <pc:docMk/>
          <pc:sldMk cId="798535839" sldId="2147310113"/>
        </pc:sldMkLst>
        <pc:picChg chg="add mod">
          <ac:chgData name="Washington Nascimento" userId="f3b9592a5eff0234" providerId="LiveId" clId="{538ECF1A-8ECB-4C34-A2D6-3145E71C9EEE}" dt="2023-07-05T14:47:01.882" v="44"/>
          <ac:picMkLst>
            <pc:docMk/>
            <pc:sldMk cId="798535839" sldId="2147310113"/>
            <ac:picMk id="4" creationId="{35ABD6EA-BCAF-2854-9EA6-41B8F8345040}"/>
          </ac:picMkLst>
        </pc:picChg>
      </pc:sldChg>
      <pc:sldChg chg="addSp modSp">
        <pc:chgData name="Washington Nascimento" userId="f3b9592a5eff0234" providerId="LiveId" clId="{538ECF1A-8ECB-4C34-A2D6-3145E71C9EEE}" dt="2023-07-05T14:47:05.746" v="46"/>
        <pc:sldMkLst>
          <pc:docMk/>
          <pc:sldMk cId="2391812821" sldId="2147310114"/>
        </pc:sldMkLst>
        <pc:picChg chg="add mod">
          <ac:chgData name="Washington Nascimento" userId="f3b9592a5eff0234" providerId="LiveId" clId="{538ECF1A-8ECB-4C34-A2D6-3145E71C9EEE}" dt="2023-07-05T14:47:05.746" v="46"/>
          <ac:picMkLst>
            <pc:docMk/>
            <pc:sldMk cId="2391812821" sldId="2147310114"/>
            <ac:picMk id="4" creationId="{130FD0AA-4432-06B4-F8D5-E34690D5DBCE}"/>
          </ac:picMkLst>
        </pc:picChg>
      </pc:sldChg>
      <pc:sldChg chg="addSp modSp">
        <pc:chgData name="Washington Nascimento" userId="f3b9592a5eff0234" providerId="LiveId" clId="{538ECF1A-8ECB-4C34-A2D6-3145E71C9EEE}" dt="2023-07-05T14:46:34.482" v="35"/>
        <pc:sldMkLst>
          <pc:docMk/>
          <pc:sldMk cId="3449866643" sldId="2147310122"/>
        </pc:sldMkLst>
        <pc:picChg chg="add mod">
          <ac:chgData name="Washington Nascimento" userId="f3b9592a5eff0234" providerId="LiveId" clId="{538ECF1A-8ECB-4C34-A2D6-3145E71C9EEE}" dt="2023-07-05T14:46:34.482" v="35"/>
          <ac:picMkLst>
            <pc:docMk/>
            <pc:sldMk cId="3449866643" sldId="2147310122"/>
            <ac:picMk id="3" creationId="{EF5A9752-7BE6-C0F8-06D9-FBAC2A330727}"/>
          </ac:picMkLst>
        </pc:picChg>
      </pc:sldChg>
      <pc:sldChg chg="addSp modSp">
        <pc:chgData name="Washington Nascimento" userId="f3b9592a5eff0234" providerId="LiveId" clId="{538ECF1A-8ECB-4C34-A2D6-3145E71C9EEE}" dt="2023-07-05T14:46:38.242" v="36"/>
        <pc:sldMkLst>
          <pc:docMk/>
          <pc:sldMk cId="1659437419" sldId="2147310123"/>
        </pc:sldMkLst>
        <pc:picChg chg="add mod">
          <ac:chgData name="Washington Nascimento" userId="f3b9592a5eff0234" providerId="LiveId" clId="{538ECF1A-8ECB-4C34-A2D6-3145E71C9EEE}" dt="2023-07-05T14:46:38.242" v="36"/>
          <ac:picMkLst>
            <pc:docMk/>
            <pc:sldMk cId="1659437419" sldId="2147310123"/>
            <ac:picMk id="3" creationId="{97C34AAE-58D3-EB79-1FE9-B3ED686B2914}"/>
          </ac:picMkLst>
        </pc:picChg>
      </pc:sldChg>
      <pc:sldChg chg="addSp modSp mod">
        <pc:chgData name="Washington Nascimento" userId="f3b9592a5eff0234" providerId="LiveId" clId="{538ECF1A-8ECB-4C34-A2D6-3145E71C9EEE}" dt="2023-07-05T14:46:17.834" v="29" actId="1076"/>
        <pc:sldMkLst>
          <pc:docMk/>
          <pc:sldMk cId="2458750568" sldId="2147310125"/>
        </pc:sldMkLst>
        <pc:picChg chg="add mod">
          <ac:chgData name="Washington Nascimento" userId="f3b9592a5eff0234" providerId="LiveId" clId="{538ECF1A-8ECB-4C34-A2D6-3145E71C9EEE}" dt="2023-07-05T14:46:17.834" v="29" actId="1076"/>
          <ac:picMkLst>
            <pc:docMk/>
            <pc:sldMk cId="2458750568" sldId="2147310125"/>
            <ac:picMk id="3" creationId="{37E1408B-4998-0E00-DBF8-B3DE272A0750}"/>
          </ac:picMkLst>
        </pc:picChg>
      </pc:sldChg>
      <pc:sldChg chg="addSp modSp">
        <pc:chgData name="Washington Nascimento" userId="f3b9592a5eff0234" providerId="LiveId" clId="{538ECF1A-8ECB-4C34-A2D6-3145E71C9EEE}" dt="2023-07-05T14:46:31.552" v="34"/>
        <pc:sldMkLst>
          <pc:docMk/>
          <pc:sldMk cId="2430454153" sldId="2147310126"/>
        </pc:sldMkLst>
        <pc:picChg chg="add mod">
          <ac:chgData name="Washington Nascimento" userId="f3b9592a5eff0234" providerId="LiveId" clId="{538ECF1A-8ECB-4C34-A2D6-3145E71C9EEE}" dt="2023-07-05T14:46:31.552" v="34"/>
          <ac:picMkLst>
            <pc:docMk/>
            <pc:sldMk cId="2430454153" sldId="2147310126"/>
            <ac:picMk id="3" creationId="{C22630FB-7FC5-125C-FB06-91AA5B318A76}"/>
          </ac:picMkLst>
        </pc:picChg>
      </pc:sldChg>
      <pc:sldChg chg="addSp modSp mod">
        <pc:chgData name="Washington Nascimento" userId="f3b9592a5eff0234" providerId="LiveId" clId="{538ECF1A-8ECB-4C34-A2D6-3145E71C9EEE}" dt="2023-07-05T14:46:52.683" v="38" actId="1076"/>
        <pc:sldMkLst>
          <pc:docMk/>
          <pc:sldMk cId="1094346722" sldId="2147310147"/>
        </pc:sldMkLst>
        <pc:picChg chg="add mod">
          <ac:chgData name="Washington Nascimento" userId="f3b9592a5eff0234" providerId="LiveId" clId="{538ECF1A-8ECB-4C34-A2D6-3145E71C9EEE}" dt="2023-07-05T14:46:52.683" v="38" actId="1076"/>
          <ac:picMkLst>
            <pc:docMk/>
            <pc:sldMk cId="1094346722" sldId="2147310147"/>
            <ac:picMk id="4" creationId="{8E1E226B-EE1C-E233-CD84-E7BFE5A50B80}"/>
          </ac:picMkLst>
        </pc:picChg>
      </pc:sldChg>
      <pc:sldChg chg="addSp modSp">
        <pc:chgData name="Washington Nascimento" userId="f3b9592a5eff0234" providerId="LiveId" clId="{538ECF1A-8ECB-4C34-A2D6-3145E71C9EEE}" dt="2023-07-05T14:47:03.801" v="45"/>
        <pc:sldMkLst>
          <pc:docMk/>
          <pc:sldMk cId="3156463951" sldId="2147310161"/>
        </pc:sldMkLst>
        <pc:picChg chg="add mod">
          <ac:chgData name="Washington Nascimento" userId="f3b9592a5eff0234" providerId="LiveId" clId="{538ECF1A-8ECB-4C34-A2D6-3145E71C9EEE}" dt="2023-07-05T14:47:03.801" v="45"/>
          <ac:picMkLst>
            <pc:docMk/>
            <pc:sldMk cId="3156463951" sldId="2147310161"/>
            <ac:picMk id="8" creationId="{CE165838-1375-CFA6-8512-F237DA434598}"/>
          </ac:picMkLst>
        </pc:picChg>
      </pc:sldChg>
      <pc:sldChg chg="addSp delSp modSp mod">
        <pc:chgData name="Washington Nascimento" userId="f3b9592a5eff0234" providerId="LiveId" clId="{538ECF1A-8ECB-4C34-A2D6-3145E71C9EEE}" dt="2023-07-05T18:01:14.450" v="558" actId="1076"/>
        <pc:sldMkLst>
          <pc:docMk/>
          <pc:sldMk cId="1727970152" sldId="2147310163"/>
        </pc:sldMkLst>
        <pc:spChg chg="del">
          <ac:chgData name="Washington Nascimento" userId="f3b9592a5eff0234" providerId="LiveId" clId="{538ECF1A-8ECB-4C34-A2D6-3145E71C9EEE}" dt="2023-07-05T15:22:09.196" v="49" actId="478"/>
          <ac:spMkLst>
            <pc:docMk/>
            <pc:sldMk cId="1727970152" sldId="2147310163"/>
            <ac:spMk id="6" creationId="{3FFDB9F8-DB14-456E-A015-EAA170F87E32}"/>
          </ac:spMkLst>
        </pc:spChg>
        <pc:spChg chg="del">
          <ac:chgData name="Washington Nascimento" userId="f3b9592a5eff0234" providerId="LiveId" clId="{538ECF1A-8ECB-4C34-A2D6-3145E71C9EEE}" dt="2023-07-05T15:22:09.196" v="49" actId="478"/>
          <ac:spMkLst>
            <pc:docMk/>
            <pc:sldMk cId="1727970152" sldId="2147310163"/>
            <ac:spMk id="13" creationId="{D8A37D6B-6DA1-4A4F-B08C-DD760F02801A}"/>
          </ac:spMkLst>
        </pc:spChg>
        <pc:spChg chg="add mod">
          <ac:chgData name="Washington Nascimento" userId="f3b9592a5eff0234" providerId="LiveId" clId="{538ECF1A-8ECB-4C34-A2D6-3145E71C9EEE}" dt="2023-07-05T16:56:53.504" v="66" actId="1076"/>
          <ac:spMkLst>
            <pc:docMk/>
            <pc:sldMk cId="1727970152" sldId="2147310163"/>
            <ac:spMk id="16" creationId="{13F19138-8356-0B08-E3E5-33EDBC8BCB2D}"/>
          </ac:spMkLst>
        </pc:spChg>
        <pc:spChg chg="del">
          <ac:chgData name="Washington Nascimento" userId="f3b9592a5eff0234" providerId="LiveId" clId="{538ECF1A-8ECB-4C34-A2D6-3145E71C9EEE}" dt="2023-07-05T15:22:20.572" v="53" actId="478"/>
          <ac:spMkLst>
            <pc:docMk/>
            <pc:sldMk cId="1727970152" sldId="2147310163"/>
            <ac:spMk id="19" creationId="{30A84F87-BA39-D9BD-94DF-0969B4A21FFB}"/>
          </ac:spMkLst>
        </pc:spChg>
        <pc:grpChg chg="del">
          <ac:chgData name="Washington Nascimento" userId="f3b9592a5eff0234" providerId="LiveId" clId="{538ECF1A-8ECB-4C34-A2D6-3145E71C9EEE}" dt="2023-07-05T15:22:14.437" v="51" actId="478"/>
          <ac:grpSpMkLst>
            <pc:docMk/>
            <pc:sldMk cId="1727970152" sldId="2147310163"/>
            <ac:grpSpMk id="10" creationId="{5FDF82A7-82E5-8E5B-23B8-E28F2A4AE09B}"/>
          </ac:grpSpMkLst>
        </pc:grpChg>
        <pc:picChg chg="del">
          <ac:chgData name="Washington Nascimento" userId="f3b9592a5eff0234" providerId="LiveId" clId="{538ECF1A-8ECB-4C34-A2D6-3145E71C9EEE}" dt="2023-07-05T15:22:09.196" v="49" actId="478"/>
          <ac:picMkLst>
            <pc:docMk/>
            <pc:sldMk cId="1727970152" sldId="2147310163"/>
            <ac:picMk id="3" creationId="{EBC35CED-543C-4EB3-8C49-7905BDE960FD}"/>
          </ac:picMkLst>
        </pc:picChg>
        <pc:picChg chg="add del mod">
          <ac:chgData name="Washington Nascimento" userId="f3b9592a5eff0234" providerId="LiveId" clId="{538ECF1A-8ECB-4C34-A2D6-3145E71C9EEE}" dt="2023-07-05T15:27:15.613" v="54" actId="478"/>
          <ac:picMkLst>
            <pc:docMk/>
            <pc:sldMk cId="1727970152" sldId="2147310163"/>
            <ac:picMk id="5" creationId="{53E9FAFC-A264-F5D0-F077-09695CC512AB}"/>
          </ac:picMkLst>
        </pc:picChg>
        <pc:picChg chg="del">
          <ac:chgData name="Washington Nascimento" userId="f3b9592a5eff0234" providerId="LiveId" clId="{538ECF1A-8ECB-4C34-A2D6-3145E71C9EEE}" dt="2023-07-05T15:22:09.196" v="49" actId="478"/>
          <ac:picMkLst>
            <pc:docMk/>
            <pc:sldMk cId="1727970152" sldId="2147310163"/>
            <ac:picMk id="9" creationId="{F75E22B2-D43C-1959-BF55-D24E366A1222}"/>
          </ac:picMkLst>
        </pc:picChg>
        <pc:picChg chg="add mod">
          <ac:chgData name="Washington Nascimento" userId="f3b9592a5eff0234" providerId="LiveId" clId="{538ECF1A-8ECB-4C34-A2D6-3145E71C9EEE}" dt="2023-07-05T18:01:14.450" v="558" actId="1076"/>
          <ac:picMkLst>
            <pc:docMk/>
            <pc:sldMk cId="1727970152" sldId="2147310163"/>
            <ac:picMk id="11" creationId="{3C978C80-263C-DED5-332D-1B340A4A0705}"/>
          </ac:picMkLst>
        </pc:picChg>
        <pc:picChg chg="add del mod">
          <ac:chgData name="Washington Nascimento" userId="f3b9592a5eff0234" providerId="LiveId" clId="{538ECF1A-8ECB-4C34-A2D6-3145E71C9EEE}" dt="2023-07-05T16:56:55.592" v="67" actId="478"/>
          <ac:picMkLst>
            <pc:docMk/>
            <pc:sldMk cId="1727970152" sldId="2147310163"/>
            <ac:picMk id="17" creationId="{F3C093A0-6D59-BB22-5EAA-FEDA03D06130}"/>
          </ac:picMkLst>
        </pc:picChg>
        <pc:picChg chg="add del mod">
          <ac:chgData name="Washington Nascimento" userId="f3b9592a5eff0234" providerId="LiveId" clId="{538ECF1A-8ECB-4C34-A2D6-3145E71C9EEE}" dt="2023-07-05T16:57:34.567" v="88" actId="1035"/>
          <ac:picMkLst>
            <pc:docMk/>
            <pc:sldMk cId="1727970152" sldId="2147310163"/>
            <ac:picMk id="18" creationId="{645717BE-8010-4574-CD22-3F0BCCCF60AB}"/>
          </ac:picMkLst>
        </pc:picChg>
        <pc:picChg chg="mod">
          <ac:chgData name="Washington Nascimento" userId="f3b9592a5eff0234" providerId="LiveId" clId="{538ECF1A-8ECB-4C34-A2D6-3145E71C9EEE}" dt="2023-07-05T16:56:14.130" v="62" actId="1076"/>
          <ac:picMkLst>
            <pc:docMk/>
            <pc:sldMk cId="1727970152" sldId="2147310163"/>
            <ac:picMk id="20" creationId="{E992B284-54B7-FC92-665A-F040AC033A9F}"/>
          </ac:picMkLst>
        </pc:picChg>
        <pc:picChg chg="add del mod">
          <ac:chgData name="Washington Nascimento" userId="f3b9592a5eff0234" providerId="LiveId" clId="{538ECF1A-8ECB-4C34-A2D6-3145E71C9EEE}" dt="2023-07-05T16:57:23.705" v="83"/>
          <ac:picMkLst>
            <pc:docMk/>
            <pc:sldMk cId="1727970152" sldId="2147310163"/>
            <ac:picMk id="21" creationId="{4F9E1AA0-698E-DADD-B35B-C4A38EFF1712}"/>
          </ac:picMkLst>
        </pc:picChg>
      </pc:sldChg>
      <pc:sldChg chg="addSp delSp modSp add del mod">
        <pc:chgData name="Washington Nascimento" userId="f3b9592a5eff0234" providerId="LiveId" clId="{538ECF1A-8ECB-4C34-A2D6-3145E71C9EEE}" dt="2023-07-05T18:10:10.463" v="650" actId="2696"/>
        <pc:sldMkLst>
          <pc:docMk/>
          <pc:sldMk cId="2394223736" sldId="2147310164"/>
        </pc:sldMkLst>
        <pc:spChg chg="add del mod">
          <ac:chgData name="Washington Nascimento" userId="f3b9592a5eff0234" providerId="LiveId" clId="{538ECF1A-8ECB-4C34-A2D6-3145E71C9EEE}" dt="2023-07-05T18:07:23.653" v="631"/>
          <ac:spMkLst>
            <pc:docMk/>
            <pc:sldMk cId="2394223736" sldId="2147310164"/>
            <ac:spMk id="6" creationId="{7B36EC61-E958-70AD-8DBB-FF51F2E45F5E}"/>
          </ac:spMkLst>
        </pc:spChg>
        <pc:spChg chg="add mod">
          <ac:chgData name="Washington Nascimento" userId="f3b9592a5eff0234" providerId="LiveId" clId="{538ECF1A-8ECB-4C34-A2D6-3145E71C9EEE}" dt="2023-07-05T18:08:07.032" v="639" actId="255"/>
          <ac:spMkLst>
            <pc:docMk/>
            <pc:sldMk cId="2394223736" sldId="2147310164"/>
            <ac:spMk id="8" creationId="{9D6B2834-2AB1-984F-4E34-7BBF3AAAA113}"/>
          </ac:spMkLst>
        </pc:spChg>
        <pc:spChg chg="add mod">
          <ac:chgData name="Washington Nascimento" userId="f3b9592a5eff0234" providerId="LiveId" clId="{538ECF1A-8ECB-4C34-A2D6-3145E71C9EEE}" dt="2023-07-05T18:09:23.675" v="648" actId="1076"/>
          <ac:spMkLst>
            <pc:docMk/>
            <pc:sldMk cId="2394223736" sldId="2147310164"/>
            <ac:spMk id="10" creationId="{7F67444B-5FCA-35E3-DE1E-321ADAFA7498}"/>
          </ac:spMkLst>
        </pc:spChg>
        <pc:spChg chg="mod">
          <ac:chgData name="Washington Nascimento" userId="f3b9592a5eff0234" providerId="LiveId" clId="{538ECF1A-8ECB-4C34-A2D6-3145E71C9EEE}" dt="2023-07-05T18:06:55.359" v="626" actId="14100"/>
          <ac:spMkLst>
            <pc:docMk/>
            <pc:sldMk cId="2394223736" sldId="2147310164"/>
            <ac:spMk id="12" creationId="{6522CC11-E8C6-4528-B0E4-579513926B48}"/>
          </ac:spMkLst>
        </pc:spChg>
        <pc:picChg chg="add del mod">
          <ac:chgData name="Washington Nascimento" userId="f3b9592a5eff0234" providerId="LiveId" clId="{538ECF1A-8ECB-4C34-A2D6-3145E71C9EEE}" dt="2023-07-05T18:07:06.573" v="629"/>
          <ac:picMkLst>
            <pc:docMk/>
            <pc:sldMk cId="2394223736" sldId="2147310164"/>
            <ac:picMk id="2" creationId="{7A8FBB42-10A5-47F1-CB09-76FA5FE371DD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3" creationId="{0638E38A-C3A2-475B-92D2-3117E92B3AD4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4" creationId="{8826EBD3-7AA5-4676-9045-7700A96F0D9F}"/>
          </ac:picMkLst>
        </pc:picChg>
        <pc:picChg chg="add del mod">
          <ac:chgData name="Washington Nascimento" userId="f3b9592a5eff0234" providerId="LiveId" clId="{538ECF1A-8ECB-4C34-A2D6-3145E71C9EEE}" dt="2023-07-05T18:07:23.653" v="631"/>
          <ac:picMkLst>
            <pc:docMk/>
            <pc:sldMk cId="2394223736" sldId="2147310164"/>
            <ac:picMk id="7" creationId="{2D854DA4-D5F5-CD99-3075-56DFAB8AF169}"/>
          </ac:picMkLst>
        </pc:picChg>
        <pc:picChg chg="add mod">
          <ac:chgData name="Washington Nascimento" userId="f3b9592a5eff0234" providerId="LiveId" clId="{538ECF1A-8ECB-4C34-A2D6-3145E71C9EEE}" dt="2023-07-05T18:09:20.734" v="647" actId="14100"/>
          <ac:picMkLst>
            <pc:docMk/>
            <pc:sldMk cId="2394223736" sldId="2147310164"/>
            <ac:picMk id="9" creationId="{6128F49D-015C-07C4-1160-D89C2288FE80}"/>
          </ac:picMkLst>
        </pc:picChg>
        <pc:picChg chg="add mod">
          <ac:chgData name="Washington Nascimento" userId="f3b9592a5eff0234" providerId="LiveId" clId="{538ECF1A-8ECB-4C34-A2D6-3145E71C9EEE}" dt="2023-07-05T18:10:07.334" v="649" actId="14100"/>
          <ac:picMkLst>
            <pc:docMk/>
            <pc:sldMk cId="2394223736" sldId="2147310164"/>
            <ac:picMk id="11" creationId="{6FA12E41-1738-5212-41A5-70E1B3B4CA99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13" creationId="{6763016E-B1EA-4B9F-8A24-2CF33B286083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14" creationId="{5EEEEB2C-7FCC-438C-8189-8E2C8331545A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15" creationId="{1A067C1F-05F9-49E6-B785-7E75425F765F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16" creationId="{31F48F75-E0FC-4360-B6A8-4A0AC3EE29ED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17" creationId="{5B11EAFF-901F-4880-81CC-3AC31E3A5D72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18" creationId="{BAA12330-043C-459F-B63E-2CE4ADA30A6B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19" creationId="{91C548E3-6515-45AC-B833-C2DA929C985C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20" creationId="{3E363A3C-D6F4-448D-8CEA-C4A1A19581F2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21" creationId="{BF4EF18E-CEA0-41AC-940F-6C40E86A42CB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22" creationId="{D7F86D1F-0095-4EE0-8AE9-480531034243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23" creationId="{B9891AF6-C17D-4F8F-BD42-9918C1AD0FEC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24" creationId="{5D871D3A-9981-480A-898A-4AB079D15587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25" creationId="{7ECE9F27-AE14-412E-BFFF-173F4FDAF5FF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26" creationId="{1BDEDF0B-28E3-467C-91B9-C639385683A2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27" creationId="{FEF2D55F-3B48-4FCC-BF36-434C38E0BEB7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28" creationId="{39C3858D-9955-4208-B21E-89A73A500329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29" creationId="{B21A7A7E-E8B5-48F5-A3F4-A8A4858139FF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30" creationId="{045D1D3B-B223-4CB5-89B0-64C04CCF8CD1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35" creationId="{B0B79814-F1B5-4F1E-BCDF-087E1948DCF8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36" creationId="{9B4E1F27-A1F7-4B86-9E46-9A9E6F74367D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37" creationId="{9A157206-F286-4D28-A5F1-27CEAEA18831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38" creationId="{C47684A1-E019-42CD-B09D-238C6D9B23DC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39" creationId="{17E792C9-AF2F-4E6B-9947-D0B954C86D3F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40" creationId="{5E3FE48A-AE2B-4680-93A1-3F3D38D1159D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41" creationId="{0885D564-1200-466E-9877-086F68AED343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43" creationId="{3DBD7445-F7D5-439F-9B68-4489506DF079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44" creationId="{CBFC733C-6F86-43EE-B44E-984A244D82AF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45" creationId="{5995B4C5-574D-484B-8443-CF70DCD5D9AA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46" creationId="{0A2CB0FF-DAA6-4215-AE66-AD217F23F986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47" creationId="{4E9E96CA-6E1D-42A3-BB68-63825E2F0598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48" creationId="{5F5ECD99-8C99-45FC-88C4-6161A8B28E9A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49" creationId="{3AC7E551-DF55-4AE3-A559-E083A6F24367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52" creationId="{F3384505-CE44-4FCA-AAB6-3DC82891DDEC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53" creationId="{8C7AD2E2-5CA5-4E18-BD48-C7E889F528EF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54" creationId="{6A9BDBF7-C542-4113-A5CD-2CE387355A95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1026" creationId="{F62A873A-3212-4029-A2A3-AB6371AFA625}"/>
          </ac:picMkLst>
        </pc:picChg>
      </pc:sldChg>
      <pc:sldMasterChg chg="delSldLayout">
        <pc:chgData name="Washington Nascimento" userId="f3b9592a5eff0234" providerId="LiveId" clId="{538ECF1A-8ECB-4C34-A2D6-3145E71C9EEE}" dt="2023-07-05T17:32:48.302" v="227" actId="47"/>
        <pc:sldMasterMkLst>
          <pc:docMk/>
          <pc:sldMasterMk cId="727895203" sldId="2147483662"/>
        </pc:sldMasterMkLst>
        <pc:sldLayoutChg chg="del">
          <pc:chgData name="Washington Nascimento" userId="f3b9592a5eff0234" providerId="LiveId" clId="{538ECF1A-8ECB-4C34-A2D6-3145E71C9EEE}" dt="2023-07-05T17:32:48.302" v="227" actId="47"/>
          <pc:sldLayoutMkLst>
            <pc:docMk/>
            <pc:sldMasterMk cId="727895203" sldId="2147483662"/>
            <pc:sldLayoutMk cId="854257171" sldId="2147483836"/>
          </pc:sldLayoutMkLst>
        </pc:sldLayoutChg>
      </pc:sldMasterChg>
    </pc:docChg>
  </pc:docChgLst>
  <pc:docChgLst>
    <pc:chgData name="Washington Nascimento" userId="f3b9592a5eff0234" providerId="LiveId" clId="{6880EC8E-C46A-45AD-8111-3EB337451FD3}"/>
    <pc:docChg chg="addSld delSld modSld sldOrd">
      <pc:chgData name="Washington Nascimento" userId="f3b9592a5eff0234" providerId="LiveId" clId="{6880EC8E-C46A-45AD-8111-3EB337451FD3}" dt="2022-06-24T13:27:00.091" v="3" actId="47"/>
      <pc:docMkLst>
        <pc:docMk/>
      </pc:docMkLst>
      <pc:sldChg chg="ord">
        <pc:chgData name="Washington Nascimento" userId="f3b9592a5eff0234" providerId="LiveId" clId="{6880EC8E-C46A-45AD-8111-3EB337451FD3}" dt="2022-06-24T13:26:57.406" v="2"/>
        <pc:sldMkLst>
          <pc:docMk/>
          <pc:sldMk cId="2599515355" sldId="476"/>
        </pc:sldMkLst>
      </pc:sldChg>
      <pc:sldChg chg="del">
        <pc:chgData name="Washington Nascimento" userId="f3b9592a5eff0234" providerId="LiveId" clId="{6880EC8E-C46A-45AD-8111-3EB337451FD3}" dt="2022-06-24T13:27:00.091" v="3" actId="47"/>
        <pc:sldMkLst>
          <pc:docMk/>
          <pc:sldMk cId="1595820266" sldId="3536"/>
        </pc:sldMkLst>
      </pc:sldChg>
      <pc:sldChg chg="add">
        <pc:chgData name="Washington Nascimento" userId="f3b9592a5eff0234" providerId="LiveId" clId="{6880EC8E-C46A-45AD-8111-3EB337451FD3}" dt="2022-06-24T13:26:53.934" v="0"/>
        <pc:sldMkLst>
          <pc:docMk/>
          <pc:sldMk cId="1772346703" sldId="10123"/>
        </pc:sldMkLst>
      </pc:sldChg>
      <pc:sldChg chg="add">
        <pc:chgData name="Washington Nascimento" userId="f3b9592a5eff0234" providerId="LiveId" clId="{6880EC8E-C46A-45AD-8111-3EB337451FD3}" dt="2022-06-24T13:26:53.934" v="0"/>
        <pc:sldMkLst>
          <pc:docMk/>
          <pc:sldMk cId="2491226624" sldId="10124"/>
        </pc:sldMkLst>
      </pc:sldChg>
    </pc:docChg>
  </pc:docChgLst>
  <pc:docChgLst>
    <pc:chgData name="Washington Nascimento" userId="f3b9592a5eff0234" providerId="LiveId" clId="{DA8FA3C4-DFEF-4BDD-BB3D-34FB5A353A47}"/>
    <pc:docChg chg="custSel modSld">
      <pc:chgData name="Washington Nascimento" userId="f3b9592a5eff0234" providerId="LiveId" clId="{DA8FA3C4-DFEF-4BDD-BB3D-34FB5A353A47}" dt="2023-04-03T13:10:40.894" v="9" actId="478"/>
      <pc:docMkLst>
        <pc:docMk/>
      </pc:docMkLst>
      <pc:sldChg chg="delSp mod">
        <pc:chgData name="Washington Nascimento" userId="f3b9592a5eff0234" providerId="LiveId" clId="{DA8FA3C4-DFEF-4BDD-BB3D-34FB5A353A47}" dt="2023-03-22T17:19:22.494" v="2" actId="478"/>
        <pc:sldMkLst>
          <pc:docMk/>
          <pc:sldMk cId="1951395890" sldId="399"/>
        </pc:sldMkLst>
        <pc:inkChg chg="del">
          <ac:chgData name="Washington Nascimento" userId="f3b9592a5eff0234" providerId="LiveId" clId="{DA8FA3C4-DFEF-4BDD-BB3D-34FB5A353A47}" dt="2023-03-22T17:19:22.494" v="2" actId="478"/>
          <ac:inkMkLst>
            <pc:docMk/>
            <pc:sldMk cId="1951395890" sldId="399"/>
            <ac:inkMk id="3" creationId="{5CBFD9D4-CF5F-6730-855D-A712AB80116E}"/>
          </ac:inkMkLst>
        </pc:inkChg>
      </pc:sldChg>
      <pc:sldChg chg="delSp mod">
        <pc:chgData name="Washington Nascimento" userId="f3b9592a5eff0234" providerId="LiveId" clId="{DA8FA3C4-DFEF-4BDD-BB3D-34FB5A353A47}" dt="2023-03-22T17:19:20.375" v="1" actId="478"/>
        <pc:sldMkLst>
          <pc:docMk/>
          <pc:sldMk cId="3960296033" sldId="680"/>
        </pc:sldMkLst>
        <pc:inkChg chg="del">
          <ac:chgData name="Washington Nascimento" userId="f3b9592a5eff0234" providerId="LiveId" clId="{DA8FA3C4-DFEF-4BDD-BB3D-34FB5A353A47}" dt="2023-03-22T17:19:20.375" v="1" actId="478"/>
          <ac:inkMkLst>
            <pc:docMk/>
            <pc:sldMk cId="3960296033" sldId="680"/>
            <ac:inkMk id="2" creationId="{E0CFB501-BD40-DD81-5EDF-FCEBED7BD293}"/>
          </ac:inkMkLst>
        </pc:inkChg>
      </pc:sldChg>
      <pc:sldChg chg="delSp mod">
        <pc:chgData name="Washington Nascimento" userId="f3b9592a5eff0234" providerId="LiveId" clId="{DA8FA3C4-DFEF-4BDD-BB3D-34FB5A353A47}" dt="2023-03-22T17:19:25.401" v="3" actId="478"/>
        <pc:sldMkLst>
          <pc:docMk/>
          <pc:sldMk cId="2548864621" sldId="695"/>
        </pc:sldMkLst>
        <pc:inkChg chg="del">
          <ac:chgData name="Washington Nascimento" userId="f3b9592a5eff0234" providerId="LiveId" clId="{DA8FA3C4-DFEF-4BDD-BB3D-34FB5A353A47}" dt="2023-03-22T17:19:25.401" v="3" actId="478"/>
          <ac:inkMkLst>
            <pc:docMk/>
            <pc:sldMk cId="2548864621" sldId="695"/>
            <ac:inkMk id="2" creationId="{BAED6A94-4E45-8673-4A32-CF7695DE650C}"/>
          </ac:inkMkLst>
        </pc:inkChg>
      </pc:sldChg>
      <pc:sldChg chg="delSp mod">
        <pc:chgData name="Washington Nascimento" userId="f3b9592a5eff0234" providerId="LiveId" clId="{DA8FA3C4-DFEF-4BDD-BB3D-34FB5A353A47}" dt="2023-03-22T17:33:43.807" v="4" actId="478"/>
        <pc:sldMkLst>
          <pc:docMk/>
          <pc:sldMk cId="1946785316" sldId="696"/>
        </pc:sldMkLst>
        <pc:inkChg chg="del">
          <ac:chgData name="Washington Nascimento" userId="f3b9592a5eff0234" providerId="LiveId" clId="{DA8FA3C4-DFEF-4BDD-BB3D-34FB5A353A47}" dt="2023-03-22T17:33:43.807" v="4" actId="478"/>
          <ac:inkMkLst>
            <pc:docMk/>
            <pc:sldMk cId="1946785316" sldId="696"/>
            <ac:inkMk id="2" creationId="{77AEAB87-ECB4-7906-0E56-D7945E551BA1}"/>
          </ac:inkMkLst>
        </pc:inkChg>
      </pc:sldChg>
      <pc:sldChg chg="delSp mod">
        <pc:chgData name="Washington Nascimento" userId="f3b9592a5eff0234" providerId="LiveId" clId="{DA8FA3C4-DFEF-4BDD-BB3D-34FB5A353A47}" dt="2023-03-22T17:33:47.503" v="5" actId="478"/>
        <pc:sldMkLst>
          <pc:docMk/>
          <pc:sldMk cId="2731384041" sldId="698"/>
        </pc:sldMkLst>
        <pc:inkChg chg="del">
          <ac:chgData name="Washington Nascimento" userId="f3b9592a5eff0234" providerId="LiveId" clId="{DA8FA3C4-DFEF-4BDD-BB3D-34FB5A353A47}" dt="2023-03-22T17:33:47.503" v="5" actId="478"/>
          <ac:inkMkLst>
            <pc:docMk/>
            <pc:sldMk cId="2731384041" sldId="698"/>
            <ac:inkMk id="3" creationId="{B591BA1E-6447-E672-3241-427B9A62981B}"/>
          </ac:inkMkLst>
        </pc:inkChg>
      </pc:sldChg>
      <pc:sldChg chg="delSp mod">
        <pc:chgData name="Washington Nascimento" userId="f3b9592a5eff0234" providerId="LiveId" clId="{DA8FA3C4-DFEF-4BDD-BB3D-34FB5A353A47}" dt="2023-03-22T17:19:12.250" v="0" actId="478"/>
        <pc:sldMkLst>
          <pc:docMk/>
          <pc:sldMk cId="1049745715" sldId="3575"/>
        </pc:sldMkLst>
        <pc:inkChg chg="del">
          <ac:chgData name="Washington Nascimento" userId="f3b9592a5eff0234" providerId="LiveId" clId="{DA8FA3C4-DFEF-4BDD-BB3D-34FB5A353A47}" dt="2023-03-22T17:19:12.250" v="0" actId="478"/>
          <ac:inkMkLst>
            <pc:docMk/>
            <pc:sldMk cId="1049745715" sldId="3575"/>
            <ac:inkMk id="2" creationId="{9B3C6286-F43D-302B-B5A2-969CE5812E2B}"/>
          </ac:inkMkLst>
        </pc:inkChg>
      </pc:sldChg>
      <pc:sldChg chg="delSp mod">
        <pc:chgData name="Washington Nascimento" userId="f3b9592a5eff0234" providerId="LiveId" clId="{DA8FA3C4-DFEF-4BDD-BB3D-34FB5A353A47}" dt="2023-04-03T13:10:32.959" v="6" actId="478"/>
        <pc:sldMkLst>
          <pc:docMk/>
          <pc:sldMk cId="2895758551" sldId="10109"/>
        </pc:sldMkLst>
        <pc:inkChg chg="del">
          <ac:chgData name="Washington Nascimento" userId="f3b9592a5eff0234" providerId="LiveId" clId="{DA8FA3C4-DFEF-4BDD-BB3D-34FB5A353A47}" dt="2023-04-03T13:10:32.959" v="6" actId="478"/>
          <ac:inkMkLst>
            <pc:docMk/>
            <pc:sldMk cId="2895758551" sldId="10109"/>
            <ac:inkMk id="2" creationId="{65F0D5DA-F862-B490-C1AF-048C4FAC89A5}"/>
          </ac:inkMkLst>
        </pc:inkChg>
      </pc:sldChg>
      <pc:sldChg chg="delSp mod">
        <pc:chgData name="Washington Nascimento" userId="f3b9592a5eff0234" providerId="LiveId" clId="{DA8FA3C4-DFEF-4BDD-BB3D-34FB5A353A47}" dt="2023-04-03T13:10:40.894" v="9" actId="478"/>
        <pc:sldMkLst>
          <pc:docMk/>
          <pc:sldMk cId="1949845392" sldId="10115"/>
        </pc:sldMkLst>
        <pc:inkChg chg="del">
          <ac:chgData name="Washington Nascimento" userId="f3b9592a5eff0234" providerId="LiveId" clId="{DA8FA3C4-DFEF-4BDD-BB3D-34FB5A353A47}" dt="2023-04-03T13:10:40.894" v="9" actId="478"/>
          <ac:inkMkLst>
            <pc:docMk/>
            <pc:sldMk cId="1949845392" sldId="10115"/>
            <ac:inkMk id="2" creationId="{30AE79D3-DA70-FB02-CCDE-0CA9F1472A48}"/>
          </ac:inkMkLst>
        </pc:inkChg>
      </pc:sldChg>
      <pc:sldChg chg="delSp mod">
        <pc:chgData name="Washington Nascimento" userId="f3b9592a5eff0234" providerId="LiveId" clId="{DA8FA3C4-DFEF-4BDD-BB3D-34FB5A353A47}" dt="2023-04-03T13:10:38.329" v="8" actId="478"/>
        <pc:sldMkLst>
          <pc:docMk/>
          <pc:sldMk cId="1772346703" sldId="10123"/>
        </pc:sldMkLst>
        <pc:inkChg chg="del">
          <ac:chgData name="Washington Nascimento" userId="f3b9592a5eff0234" providerId="LiveId" clId="{DA8FA3C4-DFEF-4BDD-BB3D-34FB5A353A47}" dt="2023-04-03T13:10:38.329" v="8" actId="478"/>
          <ac:inkMkLst>
            <pc:docMk/>
            <pc:sldMk cId="1772346703" sldId="10123"/>
            <ac:inkMk id="2" creationId="{8A0BF6F7-2DED-CE08-8119-22A8AA40C92A}"/>
          </ac:inkMkLst>
        </pc:inkChg>
      </pc:sldChg>
      <pc:sldChg chg="delSp mod">
        <pc:chgData name="Washington Nascimento" userId="f3b9592a5eff0234" providerId="LiveId" clId="{DA8FA3C4-DFEF-4BDD-BB3D-34FB5A353A47}" dt="2023-04-03T13:10:36.031" v="7" actId="478"/>
        <pc:sldMkLst>
          <pc:docMk/>
          <pc:sldMk cId="2491226624" sldId="10124"/>
        </pc:sldMkLst>
        <pc:inkChg chg="del">
          <ac:chgData name="Washington Nascimento" userId="f3b9592a5eff0234" providerId="LiveId" clId="{DA8FA3C4-DFEF-4BDD-BB3D-34FB5A353A47}" dt="2023-04-03T13:10:36.031" v="7" actId="478"/>
          <ac:inkMkLst>
            <pc:docMk/>
            <pc:sldMk cId="2491226624" sldId="10124"/>
            <ac:inkMk id="4" creationId="{BC3AC0FB-0762-B87E-130B-83BDB9F74E9B}"/>
          </ac:inkMkLst>
        </pc:inkChg>
      </pc:sldChg>
    </pc:docChg>
  </pc:docChgLst>
  <pc:docChgLst>
    <pc:chgData name="Washington Nascimento" userId="f3b9592a5eff0234" providerId="LiveId" clId="{B43263C8-5ACF-4860-A65F-6AC53740D631}"/>
    <pc:docChg chg="modSld">
      <pc:chgData name="Washington Nascimento" userId="f3b9592a5eff0234" providerId="LiveId" clId="{B43263C8-5ACF-4860-A65F-6AC53740D631}" dt="2023-02-23T14:33:12.584" v="0"/>
      <pc:docMkLst>
        <pc:docMk/>
      </pc:docMkLst>
      <pc:sldChg chg="addSp">
        <pc:chgData name="Washington Nascimento" userId="f3b9592a5eff0234" providerId="LiveId" clId="{B43263C8-5ACF-4860-A65F-6AC53740D631}" dt="2023-02-23T14:33:12.584" v="0"/>
        <pc:sldMkLst>
          <pc:docMk/>
          <pc:sldMk cId="1951395890" sldId="399"/>
        </pc:sldMkLst>
        <pc:inkChg chg="add">
          <ac:chgData name="Washington Nascimento" userId="f3b9592a5eff0234" providerId="LiveId" clId="{B43263C8-5ACF-4860-A65F-6AC53740D631}" dt="2023-02-23T14:33:12.584" v="0"/>
          <ac:inkMkLst>
            <pc:docMk/>
            <pc:sldMk cId="1951395890" sldId="399"/>
            <ac:inkMk id="3" creationId="{5CBFD9D4-CF5F-6730-855D-A712AB80116E}"/>
          </ac:inkMkLst>
        </pc:inkChg>
      </pc:sldChg>
      <pc:sldChg chg="addSp">
        <pc:chgData name="Washington Nascimento" userId="f3b9592a5eff0234" providerId="LiveId" clId="{B43263C8-5ACF-4860-A65F-6AC53740D631}" dt="2023-02-23T14:33:12.584" v="0"/>
        <pc:sldMkLst>
          <pc:docMk/>
          <pc:sldMk cId="3960296033" sldId="680"/>
        </pc:sldMkLst>
        <pc:inkChg chg="add">
          <ac:chgData name="Washington Nascimento" userId="f3b9592a5eff0234" providerId="LiveId" clId="{B43263C8-5ACF-4860-A65F-6AC53740D631}" dt="2023-02-23T14:33:12.584" v="0"/>
          <ac:inkMkLst>
            <pc:docMk/>
            <pc:sldMk cId="3960296033" sldId="680"/>
            <ac:inkMk id="2" creationId="{E0CFB501-BD40-DD81-5EDF-FCEBED7BD293}"/>
          </ac:inkMkLst>
        </pc:inkChg>
      </pc:sldChg>
      <pc:sldChg chg="addSp">
        <pc:chgData name="Washington Nascimento" userId="f3b9592a5eff0234" providerId="LiveId" clId="{B43263C8-5ACF-4860-A65F-6AC53740D631}" dt="2023-02-23T14:33:12.584" v="0"/>
        <pc:sldMkLst>
          <pc:docMk/>
          <pc:sldMk cId="2548864621" sldId="695"/>
        </pc:sldMkLst>
        <pc:inkChg chg="add">
          <ac:chgData name="Washington Nascimento" userId="f3b9592a5eff0234" providerId="LiveId" clId="{B43263C8-5ACF-4860-A65F-6AC53740D631}" dt="2023-02-23T14:33:12.584" v="0"/>
          <ac:inkMkLst>
            <pc:docMk/>
            <pc:sldMk cId="2548864621" sldId="695"/>
            <ac:inkMk id="2" creationId="{BAED6A94-4E45-8673-4A32-CF7695DE650C}"/>
          </ac:inkMkLst>
        </pc:inkChg>
      </pc:sldChg>
      <pc:sldChg chg="addSp">
        <pc:chgData name="Washington Nascimento" userId="f3b9592a5eff0234" providerId="LiveId" clId="{B43263C8-5ACF-4860-A65F-6AC53740D631}" dt="2023-02-23T14:33:12.584" v="0"/>
        <pc:sldMkLst>
          <pc:docMk/>
          <pc:sldMk cId="1946785316" sldId="696"/>
        </pc:sldMkLst>
        <pc:inkChg chg="add">
          <ac:chgData name="Washington Nascimento" userId="f3b9592a5eff0234" providerId="LiveId" clId="{B43263C8-5ACF-4860-A65F-6AC53740D631}" dt="2023-02-23T14:33:12.584" v="0"/>
          <ac:inkMkLst>
            <pc:docMk/>
            <pc:sldMk cId="1946785316" sldId="696"/>
            <ac:inkMk id="2" creationId="{77AEAB87-ECB4-7906-0E56-D7945E551BA1}"/>
          </ac:inkMkLst>
        </pc:inkChg>
      </pc:sldChg>
      <pc:sldChg chg="addSp">
        <pc:chgData name="Washington Nascimento" userId="f3b9592a5eff0234" providerId="LiveId" clId="{B43263C8-5ACF-4860-A65F-6AC53740D631}" dt="2023-02-23T14:33:12.584" v="0"/>
        <pc:sldMkLst>
          <pc:docMk/>
          <pc:sldMk cId="2731384041" sldId="698"/>
        </pc:sldMkLst>
        <pc:inkChg chg="add">
          <ac:chgData name="Washington Nascimento" userId="f3b9592a5eff0234" providerId="LiveId" clId="{B43263C8-5ACF-4860-A65F-6AC53740D631}" dt="2023-02-23T14:33:12.584" v="0"/>
          <ac:inkMkLst>
            <pc:docMk/>
            <pc:sldMk cId="2731384041" sldId="698"/>
            <ac:inkMk id="3" creationId="{B591BA1E-6447-E672-3241-427B9A62981B}"/>
          </ac:inkMkLst>
        </pc:inkChg>
      </pc:sldChg>
      <pc:sldChg chg="addSp">
        <pc:chgData name="Washington Nascimento" userId="f3b9592a5eff0234" providerId="LiveId" clId="{B43263C8-5ACF-4860-A65F-6AC53740D631}" dt="2023-02-23T14:33:12.584" v="0"/>
        <pc:sldMkLst>
          <pc:docMk/>
          <pc:sldMk cId="1049745715" sldId="3575"/>
        </pc:sldMkLst>
        <pc:inkChg chg="add">
          <ac:chgData name="Washington Nascimento" userId="f3b9592a5eff0234" providerId="LiveId" clId="{B43263C8-5ACF-4860-A65F-6AC53740D631}" dt="2023-02-23T14:33:12.584" v="0"/>
          <ac:inkMkLst>
            <pc:docMk/>
            <pc:sldMk cId="1049745715" sldId="3575"/>
            <ac:inkMk id="2" creationId="{9B3C6286-F43D-302B-B5A2-969CE5812E2B}"/>
          </ac:inkMkLst>
        </pc:inkChg>
      </pc:sldChg>
      <pc:sldChg chg="addSp">
        <pc:chgData name="Washington Nascimento" userId="f3b9592a5eff0234" providerId="LiveId" clId="{B43263C8-5ACF-4860-A65F-6AC53740D631}" dt="2023-02-23T14:33:12.584" v="0"/>
        <pc:sldMkLst>
          <pc:docMk/>
          <pc:sldMk cId="2895758551" sldId="10109"/>
        </pc:sldMkLst>
        <pc:inkChg chg="add">
          <ac:chgData name="Washington Nascimento" userId="f3b9592a5eff0234" providerId="LiveId" clId="{B43263C8-5ACF-4860-A65F-6AC53740D631}" dt="2023-02-23T14:33:12.584" v="0"/>
          <ac:inkMkLst>
            <pc:docMk/>
            <pc:sldMk cId="2895758551" sldId="10109"/>
            <ac:inkMk id="2" creationId="{65F0D5DA-F862-B490-C1AF-048C4FAC89A5}"/>
          </ac:inkMkLst>
        </pc:inkChg>
      </pc:sldChg>
      <pc:sldChg chg="addSp">
        <pc:chgData name="Washington Nascimento" userId="f3b9592a5eff0234" providerId="LiveId" clId="{B43263C8-5ACF-4860-A65F-6AC53740D631}" dt="2023-02-23T14:33:12.584" v="0"/>
        <pc:sldMkLst>
          <pc:docMk/>
          <pc:sldMk cId="1949845392" sldId="10115"/>
        </pc:sldMkLst>
        <pc:inkChg chg="add">
          <ac:chgData name="Washington Nascimento" userId="f3b9592a5eff0234" providerId="LiveId" clId="{B43263C8-5ACF-4860-A65F-6AC53740D631}" dt="2023-02-23T14:33:12.584" v="0"/>
          <ac:inkMkLst>
            <pc:docMk/>
            <pc:sldMk cId="1949845392" sldId="10115"/>
            <ac:inkMk id="2" creationId="{30AE79D3-DA70-FB02-CCDE-0CA9F1472A48}"/>
          </ac:inkMkLst>
        </pc:inkChg>
      </pc:sldChg>
      <pc:sldChg chg="addSp">
        <pc:chgData name="Washington Nascimento" userId="f3b9592a5eff0234" providerId="LiveId" clId="{B43263C8-5ACF-4860-A65F-6AC53740D631}" dt="2023-02-23T14:33:12.584" v="0"/>
        <pc:sldMkLst>
          <pc:docMk/>
          <pc:sldMk cId="1772346703" sldId="10123"/>
        </pc:sldMkLst>
        <pc:inkChg chg="add">
          <ac:chgData name="Washington Nascimento" userId="f3b9592a5eff0234" providerId="LiveId" clId="{B43263C8-5ACF-4860-A65F-6AC53740D631}" dt="2023-02-23T14:33:12.584" v="0"/>
          <ac:inkMkLst>
            <pc:docMk/>
            <pc:sldMk cId="1772346703" sldId="10123"/>
            <ac:inkMk id="2" creationId="{8A0BF6F7-2DED-CE08-8119-22A8AA40C92A}"/>
          </ac:inkMkLst>
        </pc:inkChg>
      </pc:sldChg>
      <pc:sldChg chg="addSp">
        <pc:chgData name="Washington Nascimento" userId="f3b9592a5eff0234" providerId="LiveId" clId="{B43263C8-5ACF-4860-A65F-6AC53740D631}" dt="2023-02-23T14:33:12.584" v="0"/>
        <pc:sldMkLst>
          <pc:docMk/>
          <pc:sldMk cId="2491226624" sldId="10124"/>
        </pc:sldMkLst>
        <pc:inkChg chg="add">
          <ac:chgData name="Washington Nascimento" userId="f3b9592a5eff0234" providerId="LiveId" clId="{B43263C8-5ACF-4860-A65F-6AC53740D631}" dt="2023-02-23T14:33:12.584" v="0"/>
          <ac:inkMkLst>
            <pc:docMk/>
            <pc:sldMk cId="2491226624" sldId="10124"/>
            <ac:inkMk id="4" creationId="{BC3AC0FB-0762-B87E-130B-83BDB9F74E9B}"/>
          </ac:inkMkLst>
        </pc:ink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341-514A-A92C-43E69F92A4B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341-514A-A92C-43E69F92A4BE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341-514A-A92C-43E69F92A4B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341-514A-A92C-43E69F92A4BE}"/>
              </c:ext>
            </c:extLst>
          </c:dPt>
          <c:cat>
            <c:strRef>
              <c:f>Sheet1!$A$2:$A$5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</c:v>
                </c:pt>
                <c:pt idx="1">
                  <c:v>5</c:v>
                </c:pt>
                <c:pt idx="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341-514A-A92C-43E69F92A4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35E-AB42-814A-E08D09D4118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35E-AB42-814A-E08D09D41189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35E-AB42-814A-E08D09D4118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35E-AB42-814A-E08D09D41189}"/>
              </c:ext>
            </c:extLst>
          </c:dPt>
          <c:cat>
            <c:strRef>
              <c:f>Sheet1!$A$2:$A$5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</c:v>
                </c:pt>
                <c:pt idx="1">
                  <c:v>5</c:v>
                </c:pt>
                <c:pt idx="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35E-AB42-814A-E08D09D411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A3163C-1680-4DFE-908C-2F94A5E0545B}" type="datetimeFigureOut">
              <a:rPr lang="pt-BR" smtClean="0"/>
              <a:t>25/10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C44974-F464-40A1-B09F-8C251C95355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62235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5127F2-11B6-4C53-AAE3-EEF8DA9F87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94184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0.png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1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48.emf"/></Relationships>
</file>

<file path=ppt/slideLayouts/_rels/slideLayout1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51.png"/><Relationship Id="rId7" Type="http://schemas.openxmlformats.org/officeDocument/2006/relationships/image" Target="../media/image50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.xml"/><Relationship Id="rId6" Type="http://schemas.openxmlformats.org/officeDocument/2006/relationships/image" Target="../media/image49.png"/><Relationship Id="rId5" Type="http://schemas.openxmlformats.org/officeDocument/2006/relationships/image" Target="../media/image48.emf"/><Relationship Id="rId4" Type="http://schemas.openxmlformats.org/officeDocument/2006/relationships/oleObject" Target="../embeddings/oleObject3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50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.xml"/><Relationship Id="rId6" Type="http://schemas.openxmlformats.org/officeDocument/2006/relationships/image" Target="../media/image49.png"/><Relationship Id="rId5" Type="http://schemas.openxmlformats.org/officeDocument/2006/relationships/image" Target="../media/image48.emf"/><Relationship Id="rId4" Type="http://schemas.openxmlformats.org/officeDocument/2006/relationships/oleObject" Target="../embeddings/oleObject4.bin"/></Relationships>
</file>

<file path=ppt/slideLayouts/_rels/slideLayout1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53.png"/><Relationship Id="rId7" Type="http://schemas.openxmlformats.org/officeDocument/2006/relationships/image" Target="../media/image50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.xml"/><Relationship Id="rId6" Type="http://schemas.openxmlformats.org/officeDocument/2006/relationships/image" Target="../media/image49.png"/><Relationship Id="rId5" Type="http://schemas.openxmlformats.org/officeDocument/2006/relationships/image" Target="../media/image48.emf"/><Relationship Id="rId4" Type="http://schemas.openxmlformats.org/officeDocument/2006/relationships/oleObject" Target="../embeddings/oleObject4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55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48.emf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55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48.emf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sv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48.emf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48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48.emf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48.emf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48.emf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48.emf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4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48.emf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5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48.emf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6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48.emf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7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48.emf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8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48.emf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48.emf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0.xml"/><Relationship Id="rId4" Type="http://schemas.openxmlformats.org/officeDocument/2006/relationships/image" Target="../media/image48.emf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sv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5.pn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8.svg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8.svg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sv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1.pn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8.sv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sv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4.png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sv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4.png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8.sv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sv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sv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2.png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1.png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4.png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8.png"/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80.png"/><Relationship Id="rId1" Type="http://schemas.openxmlformats.org/officeDocument/2006/relationships/slideMaster" Target="../slideMasters/slideMaster7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81.png"/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1.png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7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7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7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7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7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7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0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png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1.png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1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1.pn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1.pn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stone)">
    <p:bg>
      <p:bgPr>
        <a:gradFill>
          <a:gsLst>
            <a:gs pos="46000">
              <a:srgbClr val="FFFFFF"/>
            </a:gs>
            <a:gs pos="100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BDA5570-AE98-714A-92B4-C08C5CBD2C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0000" r="16533" b="18000"/>
          <a:stretch/>
        </p:blipFill>
        <p:spPr>
          <a:xfrm>
            <a:off x="5861053" y="-1"/>
            <a:ext cx="6330948" cy="6858001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413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="0" baseline="0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4206" y="5960533"/>
            <a:ext cx="2531596" cy="316011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F5F7CAD8-7FD8-6045-AFE1-401B95BE5E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2675B0B-A6BD-3D47-B7E9-AB7EC4467B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0418B2E2-088E-1D4C-947E-7AFFB58137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4146538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win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5224" indent="-226478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7404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1EED1FD-730F-864C-9B0D-E64885C359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61053" y="0"/>
            <a:ext cx="6330948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201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2AF67AE-EF61-694B-B0B0-E29D494D193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541" y="5966185"/>
            <a:ext cx="2544424" cy="317612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AB72A3-6EB4-474D-B322-F8F326BD8E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FFCA383-5C1A-C544-B88B-81EF000894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5E3AF555-4EF4-AE48-91C1-9E64CC012D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85685567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sla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5740841-8B5D-9F49-A313-D1C999928C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61053" y="0"/>
            <a:ext cx="6330948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201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0EFE64E-BBB5-C342-84B1-EF6DCAB0D9C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541" y="5966185"/>
            <a:ext cx="2544424" cy="317612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AE32D41-7FA5-4341-89AA-CC48B27214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8687027B-7413-FF44-BAF4-3AE636CCB0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DB48ED6C-C800-384E-B1CE-B6ADA5D625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93100346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4B55263-0329-4A4A-8B58-4054370B80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61053" y="0"/>
            <a:ext cx="6330948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201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CDD4BCB-C1A0-684F-AD5C-AFB764B0EE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541" y="5966185"/>
            <a:ext cx="2544424" cy="317612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E0009BB-3A08-BF44-BE29-14EA0B2392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198682A-8167-AE41-9310-DB53A69F88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9FD7D2-C014-D946-B37E-0EA202207D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21618846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ston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0990" indent="-222245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20000"/>
                  <a:lumOff val="80000"/>
                </a:schemeClr>
              </a:gs>
              <a:gs pos="100000">
                <a:srgbClr val="FFFFFF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357743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tanzanit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0990" indent="-222245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1558802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turquois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0990" indent="-222245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917072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slat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0990" indent="-222245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05101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win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5224" indent="-226478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26070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60400" y="1883508"/>
            <a:ext cx="10822763" cy="4184336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28981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(No 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0E38494-91CD-46FB-B963-CA89C969CA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0" y="1560576"/>
            <a:ext cx="10822763" cy="4507269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41445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60400" y="1883508"/>
            <a:ext cx="10822763" cy="4184336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60872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0E38494-91CD-46FB-B963-CA89C969CA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120126" y="1560576"/>
            <a:ext cx="4363036" cy="4507269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159860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DF1DFA-04C1-AC4E-85CF-5F12D85BB3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C2D47EF0-D968-4F54-891C-A08C35FB1D0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20126" y="1883509"/>
            <a:ext cx="4363036" cy="4184337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52653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Narrative Content (No 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0E38494-91CD-46FB-B963-CA89C969CA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0" y="1560576"/>
            <a:ext cx="10822763" cy="4507269"/>
          </a:xfrm>
        </p:spPr>
        <p:txBody>
          <a:bodyPr tIns="0" bIns="0">
            <a:noAutofit/>
          </a:bodyPr>
          <a:lstStyle>
            <a:lvl1pPr marL="0" indent="0">
              <a:buClr>
                <a:schemeClr val="accent5"/>
              </a:buClr>
              <a:buFont typeface="Arial" charset="0"/>
              <a:buNone/>
              <a:defRPr sz="2133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879087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60400" y="1883508"/>
            <a:ext cx="5218192" cy="4184337"/>
          </a:xfrm>
        </p:spPr>
        <p:txBody>
          <a:bodyPr tIns="0" bIns="0">
            <a:noAutofit/>
          </a:bodyPr>
          <a:lstStyle>
            <a:lvl1pPr marL="228594" indent="-228594"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262607" y="1883508"/>
            <a:ext cx="5218192" cy="4184336"/>
          </a:xfrm>
        </p:spPr>
        <p:txBody>
          <a:bodyPr tIns="0" bIns="0">
            <a:noAutofit/>
          </a:bodyPr>
          <a:lstStyle>
            <a:lvl1pPr marL="228594" indent="-228594"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DF1DFA-04C1-AC4E-85CF-5F12D85BB3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59098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 with open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F6B2C362-5767-48C1-B430-363866538C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0" y="1883508"/>
            <a:ext cx="5218192" cy="4184337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873403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1 - Glob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7C18C6BB-56EB-42DD-BFA4-B90408D11A0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70262" y="4297271"/>
            <a:ext cx="3047997" cy="1822632"/>
          </a:xfrm>
        </p:spPr>
        <p:txBody>
          <a:bodyPr lIns="91440" tIns="0" rIns="91440" bIns="0">
            <a:noAutofit/>
          </a:bodyPr>
          <a:lstStyle>
            <a:lvl1pPr marL="304792" indent="-304792" algn="l">
              <a:lnSpc>
                <a:spcPct val="100000"/>
              </a:lnSpc>
              <a:buClr>
                <a:schemeClr val="accent5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DE832C75-548A-4BFA-92B2-E47C7D5262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70262" y="3607729"/>
            <a:ext cx="3047999" cy="585279"/>
          </a:xfrm>
        </p:spPr>
        <p:txBody>
          <a:bodyPr lIns="91440" tIns="0" rIns="91440" bIns="0">
            <a:no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2133" b="1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DCDDF520-2C27-41A4-9FE2-AAFE33BD8EB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91748" y="4297271"/>
            <a:ext cx="3047997" cy="1822632"/>
          </a:xfrm>
        </p:spPr>
        <p:txBody>
          <a:bodyPr lIns="91440" tIns="0" rIns="91440" bIns="0">
            <a:noAutofit/>
          </a:bodyPr>
          <a:lstStyle>
            <a:lvl1pPr marL="304792" indent="-304792" algn="l">
              <a:lnSpc>
                <a:spcPct val="100000"/>
              </a:lnSpc>
              <a:buClr>
                <a:schemeClr val="accent5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838EB8E-262B-4F70-9114-EC5132A760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91748" y="3607729"/>
            <a:ext cx="3047999" cy="585279"/>
          </a:xfrm>
        </p:spPr>
        <p:txBody>
          <a:bodyPr lIns="91440" tIns="0" rIns="91440" bIns="0">
            <a:no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2133" b="1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0D6E0292-A306-4967-AEB4-5E0EA44FD60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13234" y="4301823"/>
            <a:ext cx="3047997" cy="1822632"/>
          </a:xfrm>
        </p:spPr>
        <p:txBody>
          <a:bodyPr lIns="91440" tIns="0" rIns="91440" bIns="0">
            <a:noAutofit/>
          </a:bodyPr>
          <a:lstStyle>
            <a:lvl1pPr marL="304792" indent="-304792" algn="l">
              <a:lnSpc>
                <a:spcPct val="100000"/>
              </a:lnSpc>
              <a:buClr>
                <a:schemeClr val="accent5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1599C74F-E38E-4CF9-987A-12C93D955B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13234" y="3612281"/>
            <a:ext cx="3047999" cy="585279"/>
          </a:xfrm>
        </p:spPr>
        <p:txBody>
          <a:bodyPr lIns="91440" tIns="0" rIns="91440" bIns="0">
            <a:no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2133" b="1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810409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2 -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8B707ED1-6807-4323-AC4D-0980B6D64050}"/>
              </a:ext>
            </a:extLst>
          </p:cNvPr>
          <p:cNvSpPr/>
          <p:nvPr userDrawn="1"/>
        </p:nvSpPr>
        <p:spPr>
          <a:xfrm>
            <a:off x="1103446" y="2248700"/>
            <a:ext cx="2968647" cy="2360600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>
              <a:spcBef>
                <a:spcPts val="800"/>
              </a:spcBef>
              <a:spcAft>
                <a:spcPts val="800"/>
              </a:spcAft>
              <a:defRPr/>
            </a:pPr>
            <a:endParaRPr lang="en-US" sz="1867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348270B-A1BA-45A3-8469-D5AA5CB91FCF}"/>
              </a:ext>
            </a:extLst>
          </p:cNvPr>
          <p:cNvSpPr/>
          <p:nvPr userDrawn="1"/>
        </p:nvSpPr>
        <p:spPr>
          <a:xfrm>
            <a:off x="8112225" y="2248700"/>
            <a:ext cx="2968647" cy="2360600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>
              <a:spcBef>
                <a:spcPts val="800"/>
              </a:spcBef>
              <a:spcAft>
                <a:spcPts val="800"/>
              </a:spcAft>
              <a:defRPr/>
            </a:pPr>
            <a:endParaRPr lang="en-US" sz="1867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9D26F64-FD24-4CE1-BB39-99E55AD3B01B}"/>
              </a:ext>
            </a:extLst>
          </p:cNvPr>
          <p:cNvSpPr/>
          <p:nvPr userDrawn="1"/>
        </p:nvSpPr>
        <p:spPr>
          <a:xfrm>
            <a:off x="4611677" y="2248700"/>
            <a:ext cx="2968647" cy="2360600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>
              <a:spcBef>
                <a:spcPts val="800"/>
              </a:spcBef>
              <a:spcAft>
                <a:spcPts val="800"/>
              </a:spcAft>
              <a:defRPr/>
            </a:pPr>
            <a:endParaRPr lang="en-US" sz="1867" dirty="0">
              <a:solidFill>
                <a:schemeClr val="bg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3871AFD-F7F8-4C4B-9685-2BE363A326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03447" y="5007377"/>
            <a:ext cx="2968645" cy="1076143"/>
          </a:xfrm>
        </p:spPr>
        <p:txBody>
          <a:bodyPr lIns="91440" tIns="0" rIns="91440" bIns="0">
            <a:no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2133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7C18C6BB-56EB-42DD-BFA4-B90408D11A0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3994" y="5007377"/>
            <a:ext cx="2968645" cy="1076143"/>
          </a:xfrm>
        </p:spPr>
        <p:txBody>
          <a:bodyPr lIns="91440" tIns="0" rIns="91440" bIns="0">
            <a:no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2133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D5990767-27A0-4273-973D-776F2723DE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04540" y="5011183"/>
            <a:ext cx="2968645" cy="1076143"/>
          </a:xfrm>
        </p:spPr>
        <p:txBody>
          <a:bodyPr lIns="91440" tIns="0" rIns="91440" bIns="0">
            <a:no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2133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738191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3 - Cap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2" y="1785257"/>
            <a:ext cx="4608285" cy="4282587"/>
          </a:xfrm>
        </p:spPr>
        <p:txBody>
          <a:bodyPr tIns="0" bIns="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600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4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FBCE54C-DF38-4013-AC73-D2B4342239D1}"/>
              </a:ext>
            </a:extLst>
          </p:cNvPr>
          <p:cNvCxnSpPr>
            <a:cxnSpLocks/>
          </p:cNvCxnSpPr>
          <p:nvPr userDrawn="1"/>
        </p:nvCxnSpPr>
        <p:spPr>
          <a:xfrm>
            <a:off x="5657712" y="1785257"/>
            <a:ext cx="0" cy="4282587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008361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3 - Capability (no 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2" y="1560577"/>
            <a:ext cx="4608285" cy="4507268"/>
          </a:xfrm>
        </p:spPr>
        <p:txBody>
          <a:bodyPr tIns="0" bIns="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600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4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FBCE54C-DF38-4013-AC73-D2B4342239D1}"/>
              </a:ext>
            </a:extLst>
          </p:cNvPr>
          <p:cNvCxnSpPr>
            <a:cxnSpLocks/>
          </p:cNvCxnSpPr>
          <p:nvPr userDrawn="1"/>
        </p:nvCxnSpPr>
        <p:spPr>
          <a:xfrm>
            <a:off x="5657712" y="1560577"/>
            <a:ext cx="0" cy="4507268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821830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3 - Capability w value pr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2" y="1785257"/>
            <a:ext cx="4608285" cy="2714556"/>
          </a:xfrm>
        </p:spPr>
        <p:txBody>
          <a:bodyPr tIns="0" bIns="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600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4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FBCE54C-DF38-4013-AC73-D2B4342239D1}"/>
              </a:ext>
            </a:extLst>
          </p:cNvPr>
          <p:cNvCxnSpPr>
            <a:cxnSpLocks/>
          </p:cNvCxnSpPr>
          <p:nvPr userDrawn="1"/>
        </p:nvCxnSpPr>
        <p:spPr>
          <a:xfrm>
            <a:off x="5657712" y="1785257"/>
            <a:ext cx="0" cy="4282587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26543A2A-FE5B-469C-AACF-EBD53148FE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2392" y="4824696"/>
            <a:ext cx="4608285" cy="1091632"/>
          </a:xfrm>
        </p:spPr>
        <p:txBody>
          <a:bodyPr tIns="0" bIns="0">
            <a:norm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1867">
                <a:solidFill>
                  <a:schemeClr val="accent5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90255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(No 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0E38494-91CD-46FB-B963-CA89C969CA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0" y="1560576"/>
            <a:ext cx="10822763" cy="4507269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298775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0E38494-91CD-46FB-B963-CA89C969CA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1" y="1560576"/>
            <a:ext cx="5711372" cy="4507269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2284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0E38494-91CD-46FB-B963-CA89C969CA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1" y="1785257"/>
            <a:ext cx="5711372" cy="4282588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C7413DAC-8441-4F49-A2E6-88DC7BB2BF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873493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 (des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D4D1499-4EA4-B347-A5AA-9A3B209E06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68C803D3-5DEB-4213-818A-E9F9F852D4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400" y="1883508"/>
            <a:ext cx="5218192" cy="4158936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buClr>
                <a:schemeClr val="accent5"/>
              </a:buClr>
              <a:buFontTx/>
              <a:buNone/>
              <a:defRPr sz="2133" b="1">
                <a:solidFill>
                  <a:schemeClr val="accent5"/>
                </a:solidFill>
              </a:defRPr>
            </a:lvl1pPr>
            <a:lvl2pPr marL="6351" indent="0">
              <a:lnSpc>
                <a:spcPct val="100000"/>
              </a:lnSpc>
              <a:buClr>
                <a:schemeClr val="accent5"/>
              </a:buClr>
              <a:buFontTx/>
              <a:buNone/>
              <a:tabLst/>
              <a:defRPr sz="1867">
                <a:solidFill>
                  <a:schemeClr val="tx1"/>
                </a:solidFill>
              </a:defRPr>
            </a:lvl2pPr>
            <a:lvl3pPr marL="914377" indent="0">
              <a:buClr>
                <a:schemeClr val="accent5"/>
              </a:buClr>
              <a:buFontTx/>
              <a:buNone/>
              <a:tabLst/>
              <a:defRPr sz="1867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6794955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28266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bilities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EBE2BF97-B49A-4BB7-B8FE-F4905D6039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27361" y="2309939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C41E0F9A-E99D-4D2C-82B2-703260DD36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27361" y="3618235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E5E44DD2-BC58-41A6-B0E8-5DB9C0294C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7361" y="4926531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7246733E-ECD8-496E-8A18-2F74EFC945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44649" y="2309939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6420E04E-3174-4B40-AEC5-8AC4D9F58B9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44647" y="3618235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D86540A8-F8A3-438A-A942-53B1B521418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44649" y="4926531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F193FE8C-C33F-43DB-AC66-5D13FACCC1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61937" y="2309939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E81FC632-C10B-497F-85CC-A6B8DE7CAEA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61934" y="3618235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97671B9E-0F16-457B-9207-437911B6C6B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361933" y="4926531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186865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782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55556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909975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Only w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FE5F67C3-640D-4740-AA2B-707DBF50B79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00200"/>
            <a:ext cx="12192000" cy="52578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884316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3FD1B140-E768-9349-BB52-F77A0C5FBD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184565"/>
            <a:ext cx="12192000" cy="5673436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40181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0E38494-91CD-46FB-B963-CA89C969CA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120126" y="1560576"/>
            <a:ext cx="4363036" cy="4507269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919065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79A4FE8-5BBD-5144-B80B-83166EEC7B1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085063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+ Content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79067" cy="68580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599665" y="366186"/>
            <a:ext cx="5206200" cy="1043020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99665" y="1492712"/>
            <a:ext cx="5206200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6603275" y="2090379"/>
            <a:ext cx="5218192" cy="3837285"/>
          </a:xfrm>
        </p:spPr>
        <p:txBody>
          <a:bodyPr tIns="0" bIns="0">
            <a:noAutofit/>
          </a:bodyPr>
          <a:lstStyle>
            <a:lvl1pPr marL="228594" indent="-228594"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536579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+ Content (des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601365" y="2081998"/>
            <a:ext cx="5218192" cy="3845665"/>
          </a:xfrm>
        </p:spPr>
        <p:txBody>
          <a:bodyPr tIns="0" bIns="0">
            <a:noAutofit/>
          </a:bodyPr>
          <a:lstStyle>
            <a:lvl1pPr marL="0" indent="0">
              <a:buClr>
                <a:schemeClr val="accent5"/>
              </a:buClr>
              <a:buFontTx/>
              <a:buNone/>
              <a:defRPr sz="2667" b="1">
                <a:solidFill>
                  <a:schemeClr val="accent5"/>
                </a:solidFill>
              </a:defRPr>
            </a:lvl1pPr>
            <a:lvl2pPr marL="6351" indent="0">
              <a:buClr>
                <a:schemeClr val="accent5"/>
              </a:buClr>
              <a:buFontTx/>
              <a:buNone/>
              <a:tabLst/>
              <a:defRPr sz="2400">
                <a:solidFill>
                  <a:schemeClr val="tx1"/>
                </a:solidFill>
              </a:defRPr>
            </a:lvl2pPr>
            <a:lvl3pPr marL="914377" indent="0">
              <a:buClr>
                <a:schemeClr val="accent5"/>
              </a:buClr>
              <a:buFontTx/>
              <a:buNone/>
              <a:tabLst/>
              <a:defRPr sz="1867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79067" cy="68580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599665" y="366186"/>
            <a:ext cx="5206200" cy="1043020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99665" y="1492712"/>
            <a:ext cx="5206200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763690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0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78781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778781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3559560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3559560" y="4267700"/>
            <a:ext cx="2008176" cy="308976"/>
          </a:xfrm>
        </p:spPr>
        <p:txBody>
          <a:bodyPr tIns="0" bIns="0">
            <a:noAutofit/>
          </a:bodyPr>
          <a:lstStyle>
            <a:lvl1pPr marL="0" marR="0" indent="0" algn="ctr" defTabSz="914377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marL="0" marR="0" lvl="0" indent="0" algn="ctr" defTabSz="914377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6348689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6348689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26"/>
          </p:nvPr>
        </p:nvSpPr>
        <p:spPr>
          <a:xfrm>
            <a:off x="9112767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9112767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8" name="Text Placeholder 10"/>
          <p:cNvSpPr>
            <a:spLocks noGrp="1"/>
          </p:cNvSpPr>
          <p:nvPr>
            <p:ph type="body" sz="quarter" idx="29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711BB32-EAFA-DA4E-8119-2B26980221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78691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stone)">
    <p:bg>
      <p:bgPr>
        <a:gradFill flip="none" rotWithShape="1">
          <a:gsLst>
            <a:gs pos="9000">
              <a:srgbClr val="FFFFFF"/>
            </a:gs>
            <a:gs pos="94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923" r="7045"/>
          <a:stretch/>
        </p:blipFill>
        <p:spPr>
          <a:xfrm>
            <a:off x="6305715" y="-65472"/>
            <a:ext cx="5886285" cy="652037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0CC28EE-BEBC-6140-B0DD-3F5C361607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87031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tanzani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5912" y="-1"/>
            <a:ext cx="6086089" cy="6858001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67" dirty="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843C757-D843-0641-93EC-0D5F2F785E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079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47845" y="0"/>
            <a:ext cx="644415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702F6C4-00AE-8B44-84A8-0ED4D7E14AE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7398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sla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6E2AD53-5E17-4B41-A8A7-94FBFE9BA8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6775" y="477626"/>
            <a:ext cx="3394007" cy="393963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06333" y="4681293"/>
            <a:ext cx="8085667" cy="2173641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Oval 12"/>
          <p:cNvSpPr/>
          <p:nvPr userDrawn="1"/>
        </p:nvSpPr>
        <p:spPr>
          <a:xfrm rot="19240361">
            <a:off x="9599437" y="3824170"/>
            <a:ext cx="449724" cy="449724"/>
          </a:xfrm>
          <a:prstGeom prst="ellipse">
            <a:avLst/>
          </a:prstGeom>
          <a:noFill/>
          <a:ln w="127000">
            <a:gradFill>
              <a:gsLst>
                <a:gs pos="8000">
                  <a:srgbClr val="B6D330"/>
                </a:gs>
                <a:gs pos="100000">
                  <a:schemeClr val="accent1">
                    <a:alpha val="0"/>
                    <a:lumMod val="34000"/>
                    <a:lumOff val="66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6ED38B6-17D7-6940-B802-FAD30A61BA8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9287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67" dirty="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602" t="2049"/>
          <a:stretch/>
        </p:blipFill>
        <p:spPr>
          <a:xfrm flipH="1">
            <a:off x="6299199" y="1"/>
            <a:ext cx="5892799" cy="65227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8EF8B3B-5429-3B4D-97D6-1A39F73C0A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6507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stone)">
    <p:bg>
      <p:bgPr>
        <a:gradFill flip="none" rotWithShape="1">
          <a:gsLst>
            <a:gs pos="0">
              <a:srgbClr val="FFFFFF"/>
            </a:gs>
            <a:gs pos="100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05" t="18294" r="3332"/>
          <a:stretch/>
        </p:blipFill>
        <p:spPr>
          <a:xfrm>
            <a:off x="0" y="0"/>
            <a:ext cx="12192000" cy="6156347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chemeClr val="accent5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F788ABC-EB56-3540-ACD0-0052ECA898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7988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DF1DFA-04C1-AC4E-85CF-5F12D85BB3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C2D47EF0-D968-4F54-891C-A08C35FB1D0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20126" y="1883509"/>
            <a:ext cx="4363036" cy="4184337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015363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tanzani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56" t="18142" r="3270"/>
          <a:stretch/>
        </p:blipFill>
        <p:spPr>
          <a:xfrm>
            <a:off x="0" y="1"/>
            <a:ext cx="12192000" cy="6153857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DE76E81-A97E-7B4D-A77E-E83B69FED63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11377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05" t="18294" r="3332"/>
          <a:stretch/>
        </p:blipFill>
        <p:spPr>
          <a:xfrm>
            <a:off x="0" y="0"/>
            <a:ext cx="12192000" cy="6156347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6671E90-76F3-7B4F-B706-92D600C35E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13730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sla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56" t="18142" r="3270"/>
          <a:stretch/>
        </p:blipFill>
        <p:spPr>
          <a:xfrm>
            <a:off x="0" y="1"/>
            <a:ext cx="12192000" cy="6153857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B011AB5-E73B-9740-86FF-7F2795FE6E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01052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68" t="18056" r="3162"/>
          <a:stretch/>
        </p:blipFill>
        <p:spPr>
          <a:xfrm>
            <a:off x="1" y="1"/>
            <a:ext cx="12192000" cy="6153857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93798"/>
            <a:ext cx="9829293" cy="3140613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D07625-14B4-C54F-8B9E-17760A84ED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65434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stone)">
    <p:bg>
      <p:bgPr>
        <a:gradFill flip="none" rotWithShape="1">
          <a:gsLst>
            <a:gs pos="0">
              <a:srgbClr val="FFFFFF"/>
            </a:gs>
            <a:gs pos="100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372" y="2731711"/>
            <a:ext cx="2054099" cy="1030395"/>
          </a:xfrm>
          <a:prstGeom prst="rect">
            <a:avLst/>
          </a:prstGeom>
        </p:spPr>
      </p:pic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chemeClr val="accent5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all to action goes here</a:t>
            </a: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556573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tanzani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373" y="2731712"/>
            <a:ext cx="2054097" cy="1030393"/>
          </a:xfrm>
          <a:prstGeom prst="rect">
            <a:avLst/>
          </a:prstGeom>
        </p:spPr>
      </p:pic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all to action goes he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127452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all to action goes her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15F4983-1B8C-4A45-8669-9A3A379E49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373" y="2731712"/>
            <a:ext cx="2054097" cy="1030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91373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sla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all to action goes her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3AE7266-D14C-4543-87F4-2761BFA10B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373" y="2731712"/>
            <a:ext cx="2054097" cy="1030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00388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all to action goes her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753FAF8-2463-C64C-894E-D8149EACD8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373" y="2731712"/>
            <a:ext cx="2054097" cy="1030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42619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3 - Cap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ircles_LeftandRight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pic>
        <p:nvPicPr>
          <p:cNvPr id="10" name="Picture 9" descr="Circles_LeftandRight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5" name="Picture 4" descr="QlikLogo-RGB-PPT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44319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200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Main headline her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3" name="Picture 12" descr="QlikLogo-RGB-PPT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81000" y="1785642"/>
            <a:ext cx="5190745" cy="455893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800"/>
              </a:spcBef>
              <a:defRPr sz="1600"/>
            </a:lvl1pPr>
            <a:lvl2pPr>
              <a:spcBef>
                <a:spcPts val="800"/>
              </a:spcBef>
              <a:defRPr sz="1600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600"/>
            </a:lvl4pPr>
            <a:lvl5pPr>
              <a:spcBef>
                <a:spcPts val="80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33144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Narrative Content (No 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0E38494-91CD-46FB-B963-CA89C969CA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0" y="1560576"/>
            <a:ext cx="10822763" cy="4507269"/>
          </a:xfrm>
        </p:spPr>
        <p:txBody>
          <a:bodyPr tIns="0" bIns="0">
            <a:noAutofit/>
          </a:bodyPr>
          <a:lstStyle>
            <a:lvl1pPr marL="0" indent="0">
              <a:buClr>
                <a:schemeClr val="accent5"/>
              </a:buClr>
              <a:buFont typeface="Arial" charset="0"/>
              <a:buNone/>
              <a:defRPr sz="2133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336452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at's New - No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ircles_LeftandRight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pic>
        <p:nvPicPr>
          <p:cNvPr id="10" name="Picture 9" descr="Circles_LeftandRight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5" name="Picture 4" descr="QlikLogo-RGB-PPT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44319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200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Main headline her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3" name="Picture 12" descr="QlikLogo-RGB-PPT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756357" y="1715710"/>
            <a:ext cx="5410201" cy="45042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800"/>
              </a:spcBef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013420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Cover 1 (pie cha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4A7A30F9-B6FC-8725-7A62-8DE272F89C0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80356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B91A13D-1FF3-CAA8-6D60-C2F7C3467D93}"/>
              </a:ext>
            </a:extLst>
          </p:cNvPr>
          <p:cNvSpPr txBox="1">
            <a:spLocks/>
          </p:cNvSpPr>
          <p:nvPr userDrawn="1"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F3AC078-FC52-C9A7-DD4D-664A1099F0B2}"/>
              </a:ext>
            </a:extLst>
          </p:cNvPr>
          <p:cNvSpPr/>
          <p:nvPr userDrawn="1"/>
        </p:nvSpPr>
        <p:spPr>
          <a:xfrm>
            <a:off x="458347" y="0"/>
            <a:ext cx="1824216" cy="126503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7E0B6EF-9FE5-3ABD-D01A-3EA55157571B}"/>
              </a:ext>
            </a:extLst>
          </p:cNvPr>
          <p:cNvSpPr txBox="1">
            <a:spLocks/>
          </p:cNvSpPr>
          <p:nvPr userDrawn="1"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9C33C8E9-ECA9-9B9D-4EB8-147683811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5330846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BAA6E68C-A2CB-1C62-7EDC-C762E7C1BA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634565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71884577-5178-B66C-7379-E082BEDB12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41931" y="5330846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C7C9152D-E530-5E14-9F3A-EE681761CE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931" y="5634565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4382241-E7AB-CB61-77D6-D3D937EF5C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890799"/>
            <a:ext cx="6134809" cy="357959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7A0CF601-A234-F58C-A19B-D80BD7ABEA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2392" y="6299259"/>
            <a:ext cx="4929909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333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 optional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D1D181C7-3648-FC85-3C34-D7E98541BAC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4767" y="639721"/>
            <a:ext cx="1471375" cy="512136"/>
          </a:xfrm>
          <a:prstGeom prst="rect">
            <a:avLst/>
          </a:prstGeom>
        </p:spPr>
      </p:pic>
      <p:sp>
        <p:nvSpPr>
          <p:cNvPr id="31" name="Title 1">
            <a:extLst>
              <a:ext uri="{FF2B5EF4-FFF2-40B4-BE49-F238E27FC236}">
                <a16:creationId xmlns:a16="http://schemas.microsoft.com/office/drawing/2014/main" id="{51BA8004-4AB3-AE2A-C388-40151D40D5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2393" y="1810579"/>
            <a:ext cx="5982408" cy="1978628"/>
          </a:xfrm>
        </p:spPr>
        <p:txBody>
          <a:bodyPr vert="horz" anchor="b"/>
          <a:lstStyle>
            <a:lvl1pPr rtl="0">
              <a:lnSpc>
                <a:spcPct val="90000"/>
              </a:lnSpc>
              <a:defRPr sz="4000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pic>
        <p:nvPicPr>
          <p:cNvPr id="37" name="Picture 36" descr="A picture containing icon&#10;&#10;Description automatically generated">
            <a:extLst>
              <a:ext uri="{FF2B5EF4-FFF2-40B4-BE49-F238E27FC236}">
                <a16:creationId xmlns:a16="http://schemas.microsoft.com/office/drawing/2014/main" id="{BA7AAF22-E9FF-BDC6-BE85-9726969A12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alphaModFix amt="46000"/>
          </a:blip>
          <a:srcRect l="-10848" t="18486" r="8846" b="-7229"/>
          <a:stretch/>
        </p:blipFill>
        <p:spPr>
          <a:xfrm>
            <a:off x="2282562" y="-1"/>
            <a:ext cx="9909439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431735"/>
      </p:ext>
    </p:extLst>
  </p:cSld>
  <p:clrMapOvr>
    <a:masterClrMapping/>
  </p:clrMapOvr>
  <p:hf hdr="0" dt="0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22_Cover 1 (Woman-pie cha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77318E7B-5EBE-3310-23D8-75F7B26F8E7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pic>
        <p:nvPicPr>
          <p:cNvPr id="18" name="Picture 17" descr="A picture containing icon&#10;&#10;Description automatically generated">
            <a:extLst>
              <a:ext uri="{FF2B5EF4-FFF2-40B4-BE49-F238E27FC236}">
                <a16:creationId xmlns:a16="http://schemas.microsoft.com/office/drawing/2014/main" id="{803ADBD7-A4D0-4FF5-921C-D259FE4B06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46000"/>
          </a:blip>
          <a:srcRect l="-10848" t="18486" r="8846" b="-7229"/>
          <a:stretch/>
        </p:blipFill>
        <p:spPr>
          <a:xfrm>
            <a:off x="2282562" y="-1"/>
            <a:ext cx="9909439" cy="685800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EF6B1E12-6192-4246-8FB4-89CCA680F6D3}"/>
              </a:ext>
            </a:extLst>
          </p:cNvPr>
          <p:cNvSpPr/>
          <p:nvPr/>
        </p:nvSpPr>
        <p:spPr>
          <a:xfrm>
            <a:off x="458347" y="0"/>
            <a:ext cx="1824216" cy="126503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80356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51" imgH="226" progId="TCLayout.ActiveDocument.1">
                  <p:embed/>
                </p:oleObj>
              </mc:Choice>
              <mc:Fallback>
                <p:oleObj name="think-cell Slide" r:id="rId4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C5FF983B-CED4-EF4C-88EE-3AA65DDD41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5330846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A8D660F7-AEBF-F84F-9AD7-170E3FD25B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634565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086BFF2-0F8E-8B46-84E9-D1487300B4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41931" y="5330846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E3D1CB5B-8A68-384A-AFAB-12FB2F6192D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931" y="5634565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810579"/>
            <a:ext cx="6134808" cy="1978628"/>
          </a:xfrm>
        </p:spPr>
        <p:txBody>
          <a:bodyPr vert="horz" anchor="b"/>
          <a:lstStyle>
            <a:lvl1pPr rtl="0">
              <a:lnSpc>
                <a:spcPct val="90000"/>
              </a:lnSpc>
              <a:defRPr sz="4000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890799"/>
            <a:ext cx="6134809" cy="357959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C81EAFF-6B59-444A-8347-4C73C6F202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2392" y="6299259"/>
            <a:ext cx="4929909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333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 optional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76ABE4C1-2EAB-DB4A-B16E-FEAE815E3CA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4767" y="639721"/>
            <a:ext cx="1471375" cy="512136"/>
          </a:xfrm>
          <a:prstGeom prst="rect">
            <a:avLst/>
          </a:prstGeom>
        </p:spPr>
      </p:pic>
      <p:pic>
        <p:nvPicPr>
          <p:cNvPr id="29" name="Picture 28" descr="A person with the arms crossed&#10;&#10;Description automatically generated">
            <a:extLst>
              <a:ext uri="{FF2B5EF4-FFF2-40B4-BE49-F238E27FC236}">
                <a16:creationId xmlns:a16="http://schemas.microsoft.com/office/drawing/2014/main" id="{0B3C3C7A-B926-CE73-6B24-22CBFBA067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05027" y="733777"/>
            <a:ext cx="3784248" cy="6140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262974"/>
      </p:ext>
    </p:extLst>
  </p:cSld>
  <p:clrMapOvr>
    <a:masterClrMapping/>
  </p:clrMapOvr>
  <p:hf hdr="0" dt="0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Cover 2 (scatterpl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44A2C79F-4FDE-1374-DCEF-A5855A7254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pic>
        <p:nvPicPr>
          <p:cNvPr id="18" name="Picture 17" descr="Background pattern&#10;&#10;Description automatically generated">
            <a:extLst>
              <a:ext uri="{FF2B5EF4-FFF2-40B4-BE49-F238E27FC236}">
                <a16:creationId xmlns:a16="http://schemas.microsoft.com/office/drawing/2014/main" id="{331A993D-36E8-0552-BFE8-307A46BA9C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6017"/>
          <a:stretch/>
        </p:blipFill>
        <p:spPr>
          <a:xfrm>
            <a:off x="6420053" y="8488"/>
            <a:ext cx="5771948" cy="6425241"/>
          </a:xfrm>
          <a:prstGeom prst="rect">
            <a:avLst/>
          </a:prstGeom>
        </p:spPr>
      </p:pic>
      <p:pic>
        <p:nvPicPr>
          <p:cNvPr id="25" name="Picture 24" descr="Background pattern&#10;&#10;Description automatically generated">
            <a:extLst>
              <a:ext uri="{FF2B5EF4-FFF2-40B4-BE49-F238E27FC236}">
                <a16:creationId xmlns:a16="http://schemas.microsoft.com/office/drawing/2014/main" id="{AB69F46E-2C19-F8A7-8B1B-C15946090C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58397" t="66381" r="-2380" b="-5037"/>
          <a:stretch/>
        </p:blipFill>
        <p:spPr>
          <a:xfrm rot="10800000">
            <a:off x="6715607" y="4365754"/>
            <a:ext cx="5771948" cy="2483759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80356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51" imgH="226" progId="TCLayout.ActiveDocument.1">
                  <p:embed/>
                </p:oleObj>
              </mc:Choice>
              <mc:Fallback>
                <p:oleObj name="think-cell Slide" r:id="rId4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B04AE1E-8C2B-7E34-85BB-2E9CAD03532F}"/>
              </a:ext>
            </a:extLst>
          </p:cNvPr>
          <p:cNvSpPr/>
          <p:nvPr userDrawn="1"/>
        </p:nvSpPr>
        <p:spPr>
          <a:xfrm>
            <a:off x="458347" y="0"/>
            <a:ext cx="1824216" cy="126503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321215C-7028-1F46-648B-41B63AFF535A}"/>
              </a:ext>
            </a:extLst>
          </p:cNvPr>
          <p:cNvSpPr txBox="1">
            <a:spLocks/>
          </p:cNvSpPr>
          <p:nvPr userDrawn="1"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15ACD67F-C09F-9EBC-6D77-A1A3E7668F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5330846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9820C428-4A26-ADCA-A05D-3D2EAB2E91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634565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809B0B4C-AEE4-93A5-0EAA-7310954E62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41931" y="5330846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61CCEB7-395F-A2F8-38A8-792D214BA3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931" y="5634565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D39A28AD-D96C-7173-3690-5EB9805383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2393" y="1810579"/>
            <a:ext cx="6134808" cy="1978628"/>
          </a:xfrm>
        </p:spPr>
        <p:txBody>
          <a:bodyPr vert="horz" anchor="b"/>
          <a:lstStyle>
            <a:lvl1pPr rtl="0">
              <a:lnSpc>
                <a:spcPct val="90000"/>
              </a:lnSpc>
              <a:defRPr sz="4000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D8260EDE-3AA4-23F2-EA45-5CEB259EA8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890799"/>
            <a:ext cx="6134809" cy="357959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F139A4EF-3152-2D46-E7EE-A9A3D6AEE2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2392" y="6299259"/>
            <a:ext cx="4929909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333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 optional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DA3046AE-281E-A19A-A1CD-AB5FF851735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4767" y="639721"/>
            <a:ext cx="1471375" cy="512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239208"/>
      </p:ext>
    </p:extLst>
  </p:cSld>
  <p:clrMapOvr>
    <a:masterClrMapping/>
  </p:clrMapOvr>
  <p:hf hdr="0" dt="0"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Cover 2 (man - scatterpl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44A2C79F-4FDE-1374-DCEF-A5855A7254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pic>
        <p:nvPicPr>
          <p:cNvPr id="18" name="Picture 17" descr="Background pattern&#10;&#10;Description automatically generated">
            <a:extLst>
              <a:ext uri="{FF2B5EF4-FFF2-40B4-BE49-F238E27FC236}">
                <a16:creationId xmlns:a16="http://schemas.microsoft.com/office/drawing/2014/main" id="{331A993D-36E8-0552-BFE8-307A46BA9C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6017"/>
          <a:stretch/>
        </p:blipFill>
        <p:spPr>
          <a:xfrm>
            <a:off x="6420053" y="8488"/>
            <a:ext cx="5771948" cy="6425241"/>
          </a:xfrm>
          <a:prstGeom prst="rect">
            <a:avLst/>
          </a:prstGeom>
        </p:spPr>
      </p:pic>
      <p:pic>
        <p:nvPicPr>
          <p:cNvPr id="25" name="Picture 24" descr="Background pattern&#10;&#10;Description automatically generated">
            <a:extLst>
              <a:ext uri="{FF2B5EF4-FFF2-40B4-BE49-F238E27FC236}">
                <a16:creationId xmlns:a16="http://schemas.microsoft.com/office/drawing/2014/main" id="{AB69F46E-2C19-F8A7-8B1B-C15946090C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58397" t="66381" r="-2380" b="-5037"/>
          <a:stretch/>
        </p:blipFill>
        <p:spPr>
          <a:xfrm rot="10800000">
            <a:off x="6715607" y="4365754"/>
            <a:ext cx="5771948" cy="2483759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80356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51" imgH="226" progId="TCLayout.ActiveDocument.1">
                  <p:embed/>
                </p:oleObj>
              </mc:Choice>
              <mc:Fallback>
                <p:oleObj name="think-cell Slide" r:id="rId4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B04AE1E-8C2B-7E34-85BB-2E9CAD03532F}"/>
              </a:ext>
            </a:extLst>
          </p:cNvPr>
          <p:cNvSpPr/>
          <p:nvPr userDrawn="1"/>
        </p:nvSpPr>
        <p:spPr>
          <a:xfrm>
            <a:off x="458347" y="0"/>
            <a:ext cx="1824216" cy="126503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321215C-7028-1F46-648B-41B63AFF535A}"/>
              </a:ext>
            </a:extLst>
          </p:cNvPr>
          <p:cNvSpPr txBox="1">
            <a:spLocks/>
          </p:cNvSpPr>
          <p:nvPr userDrawn="1"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15ACD67F-C09F-9EBC-6D77-A1A3E7668F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5330846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9820C428-4A26-ADCA-A05D-3D2EAB2E91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634565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809B0B4C-AEE4-93A5-0EAA-7310954E62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41931" y="5330846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61CCEB7-395F-A2F8-38A8-792D214BA3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931" y="5634565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D39A28AD-D96C-7173-3690-5EB9805383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2393" y="1810579"/>
            <a:ext cx="6134808" cy="1978628"/>
          </a:xfrm>
        </p:spPr>
        <p:txBody>
          <a:bodyPr vert="horz" anchor="b"/>
          <a:lstStyle>
            <a:lvl1pPr rtl="0">
              <a:lnSpc>
                <a:spcPct val="90000"/>
              </a:lnSpc>
              <a:defRPr sz="4000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D8260EDE-3AA4-23F2-EA45-5CEB259EA8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890799"/>
            <a:ext cx="6134809" cy="357959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F139A4EF-3152-2D46-E7EE-A9A3D6AEE2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2392" y="6299259"/>
            <a:ext cx="4929909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333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 optional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DA3046AE-281E-A19A-A1CD-AB5FF851735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4767" y="639721"/>
            <a:ext cx="1471375" cy="512136"/>
          </a:xfrm>
          <a:prstGeom prst="rect">
            <a:avLst/>
          </a:prstGeom>
        </p:spPr>
      </p:pic>
      <p:pic>
        <p:nvPicPr>
          <p:cNvPr id="4" name="Picture 3" descr="A picture containing person, person, standing, dark&#10;&#10;Description automatically generated">
            <a:extLst>
              <a:ext uri="{FF2B5EF4-FFF2-40B4-BE49-F238E27FC236}">
                <a16:creationId xmlns:a16="http://schemas.microsoft.com/office/drawing/2014/main" id="{1ECA5C58-C984-2E78-B9F6-3BEB2CF158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05006" y="1038577"/>
            <a:ext cx="4392545" cy="5819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494838"/>
      </p:ext>
    </p:extLst>
  </p:cSld>
  <p:clrMapOvr>
    <a:masterClrMapping/>
  </p:clrMapOvr>
  <p:hf hdr="0" dt="0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Cover 3 (LargeP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0C8D9EE5-912B-8A7E-B1A3-867A4129DBC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9233B">
                  <a:lumMod val="89000"/>
                  <a:lumOff val="11000"/>
                </a:srgbClr>
              </a:gs>
              <a:gs pos="23000">
                <a:srgbClr val="09233B">
                  <a:lumMod val="89000"/>
                  <a:lumOff val="11000"/>
                </a:srgbClr>
              </a:gs>
              <a:gs pos="68000">
                <a:srgbClr val="09233B">
                  <a:lumMod val="75000"/>
                </a:srgbClr>
              </a:gs>
              <a:gs pos="96000">
                <a:srgbClr val="09233B">
                  <a:lumMod val="7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80356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B91A13D-1FF3-CAA8-6D60-C2F7C3467D93}"/>
              </a:ext>
            </a:extLst>
          </p:cNvPr>
          <p:cNvSpPr txBox="1">
            <a:spLocks/>
          </p:cNvSpPr>
          <p:nvPr userDrawn="1"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F3AC078-FC52-C9A7-DD4D-664A1099F0B2}"/>
              </a:ext>
            </a:extLst>
          </p:cNvPr>
          <p:cNvSpPr/>
          <p:nvPr userDrawn="1"/>
        </p:nvSpPr>
        <p:spPr>
          <a:xfrm>
            <a:off x="458347" y="0"/>
            <a:ext cx="1824216" cy="126503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7E0B6EF-9FE5-3ABD-D01A-3EA55157571B}"/>
              </a:ext>
            </a:extLst>
          </p:cNvPr>
          <p:cNvSpPr txBox="1">
            <a:spLocks/>
          </p:cNvSpPr>
          <p:nvPr userDrawn="1"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9C33C8E9-ECA9-9B9D-4EB8-147683811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5330846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BAA6E68C-A2CB-1C62-7EDC-C762E7C1BA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634565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71884577-5178-B66C-7379-E082BEDB12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41931" y="5330846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C7C9152D-E530-5E14-9F3A-EE681761CE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931" y="5634565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51BA8004-4AB3-AE2A-C388-40151D40D5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2393" y="1810579"/>
            <a:ext cx="6134808" cy="1978628"/>
          </a:xfrm>
        </p:spPr>
        <p:txBody>
          <a:bodyPr vert="horz" anchor="b"/>
          <a:lstStyle>
            <a:lvl1pPr rtl="0">
              <a:lnSpc>
                <a:spcPct val="90000"/>
              </a:lnSpc>
              <a:defRPr sz="4000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4382241-E7AB-CB61-77D6-D3D937EF5C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890799"/>
            <a:ext cx="6134809" cy="357959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7A0CF601-A234-F58C-A19B-D80BD7ABEA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2392" y="6299259"/>
            <a:ext cx="4929909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333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 optional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D1D181C7-3648-FC85-3C34-D7E98541BAC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4767" y="639721"/>
            <a:ext cx="1471375" cy="512136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77BC26CC-47B8-9A1C-5AEF-E0591AEE041D}"/>
              </a:ext>
            </a:extLst>
          </p:cNvPr>
          <p:cNvGrpSpPr/>
          <p:nvPr userDrawn="1"/>
        </p:nvGrpSpPr>
        <p:grpSpPr>
          <a:xfrm>
            <a:off x="6251304" y="94317"/>
            <a:ext cx="5940696" cy="6763683"/>
            <a:chOff x="4688478" y="70738"/>
            <a:chExt cx="4455522" cy="5072762"/>
          </a:xfrm>
        </p:grpSpPr>
        <p:pic>
          <p:nvPicPr>
            <p:cNvPr id="21" name="Picture 20" descr="Icon&#10;&#10;Description automatically generated">
              <a:extLst>
                <a:ext uri="{FF2B5EF4-FFF2-40B4-BE49-F238E27FC236}">
                  <a16:creationId xmlns:a16="http://schemas.microsoft.com/office/drawing/2014/main" id="{F8804BDE-24AB-D48E-9448-8AA68AD387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86" t="-891" r="35123" b="29734"/>
            <a:stretch/>
          </p:blipFill>
          <p:spPr>
            <a:xfrm>
              <a:off x="4706020" y="70738"/>
              <a:ext cx="4437980" cy="5072762"/>
            </a:xfrm>
            <a:prstGeom prst="rect">
              <a:avLst/>
            </a:prstGeom>
          </p:spPr>
        </p:pic>
        <p:pic>
          <p:nvPicPr>
            <p:cNvPr id="23" name="Picture 22" descr="Icon&#10;&#10;Description automatically generated">
              <a:extLst>
                <a:ext uri="{FF2B5EF4-FFF2-40B4-BE49-F238E27FC236}">
                  <a16:creationId xmlns:a16="http://schemas.microsoft.com/office/drawing/2014/main" id="{1F8E5AC6-00E0-4A1E-A482-8D156DBA9C0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86" t="-891" r="35123" b="29734"/>
            <a:stretch/>
          </p:blipFill>
          <p:spPr>
            <a:xfrm>
              <a:off x="4688478" y="70738"/>
              <a:ext cx="4437980" cy="5072762"/>
            </a:xfrm>
            <a:prstGeom prst="rect">
              <a:avLst/>
            </a:prstGeom>
          </p:spPr>
        </p:pic>
        <p:pic>
          <p:nvPicPr>
            <p:cNvPr id="24" name="Picture 23" descr="Icon&#10;&#10;Description automatically generated">
              <a:extLst>
                <a:ext uri="{FF2B5EF4-FFF2-40B4-BE49-F238E27FC236}">
                  <a16:creationId xmlns:a16="http://schemas.microsoft.com/office/drawing/2014/main" id="{80C30BF7-29D8-9161-8B0F-7C999999154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86" t="-891" r="35123" b="29734"/>
            <a:stretch/>
          </p:blipFill>
          <p:spPr>
            <a:xfrm>
              <a:off x="4706020" y="70738"/>
              <a:ext cx="4437980" cy="5072762"/>
            </a:xfrm>
            <a:prstGeom prst="rect">
              <a:avLst/>
            </a:prstGeom>
          </p:spPr>
        </p:pic>
      </p:grpSp>
      <p:sp>
        <p:nvSpPr>
          <p:cNvPr id="36" name="Oval 35">
            <a:extLst>
              <a:ext uri="{FF2B5EF4-FFF2-40B4-BE49-F238E27FC236}">
                <a16:creationId xmlns:a16="http://schemas.microsoft.com/office/drawing/2014/main" id="{00423CDA-13BF-156F-CBFE-E33C71F9D132}"/>
              </a:ext>
            </a:extLst>
          </p:cNvPr>
          <p:cNvSpPr/>
          <p:nvPr userDrawn="1"/>
        </p:nvSpPr>
        <p:spPr>
          <a:xfrm>
            <a:off x="8886161" y="3536825"/>
            <a:ext cx="2097740" cy="20977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288327427"/>
      </p:ext>
    </p:extLst>
  </p:cSld>
  <p:clrMapOvr>
    <a:masterClrMapping/>
  </p:clrMapOvr>
  <p:hf hd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Cover 3 (man - LargeP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71AF5746-B5DF-8D56-8DEC-366F2CBB860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9233B">
                  <a:lumMod val="89000"/>
                  <a:lumOff val="11000"/>
                </a:srgbClr>
              </a:gs>
              <a:gs pos="23000">
                <a:srgbClr val="09233B">
                  <a:lumMod val="89000"/>
                  <a:lumOff val="11000"/>
                </a:srgbClr>
              </a:gs>
              <a:gs pos="68000">
                <a:srgbClr val="09233B">
                  <a:lumMod val="75000"/>
                </a:srgbClr>
              </a:gs>
              <a:gs pos="96000">
                <a:srgbClr val="09233B">
                  <a:lumMod val="7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80356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6344B55-C432-F2E3-8CEC-87D35A97BE3E}"/>
              </a:ext>
            </a:extLst>
          </p:cNvPr>
          <p:cNvSpPr/>
          <p:nvPr userDrawn="1"/>
        </p:nvSpPr>
        <p:spPr>
          <a:xfrm>
            <a:off x="458347" y="0"/>
            <a:ext cx="1824216" cy="126503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5C19C9F3-48CB-C33F-D1FD-ECDDA4C312E3}"/>
              </a:ext>
            </a:extLst>
          </p:cNvPr>
          <p:cNvSpPr txBox="1">
            <a:spLocks/>
          </p:cNvSpPr>
          <p:nvPr userDrawn="1"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65E45E57-83B0-EE36-A9D4-96B8DCB4FF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5330846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752C3D64-7BC7-2DB6-FC78-0192593739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634565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43F31017-2DD5-CA56-7C1B-817757B999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41931" y="5330846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90865323-A8E9-1693-0F91-CEA6BFC28D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931" y="5634565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B07E209F-B05A-F7D2-1047-44D3B2BBD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2394" y="1547613"/>
            <a:ext cx="5508105" cy="2241595"/>
          </a:xfrm>
        </p:spPr>
        <p:txBody>
          <a:bodyPr vert="horz" anchor="b"/>
          <a:lstStyle>
            <a:lvl1pPr rtl="0">
              <a:lnSpc>
                <a:spcPct val="90000"/>
              </a:lnSpc>
              <a:defRPr sz="4000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5C5CE534-405E-3DE7-2613-DB6831D941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890799"/>
            <a:ext cx="6134809" cy="357959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1D83C248-7EAA-751E-9A5E-BBC20BEE38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2392" y="6299259"/>
            <a:ext cx="4929909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333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 optional</a:t>
            </a:r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26460C3D-9C6C-7F61-FAF8-EF7F41567A7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4767" y="639721"/>
            <a:ext cx="1471375" cy="512136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1BAED23F-49E2-F3AC-0724-3AC8FE4EB029}"/>
              </a:ext>
            </a:extLst>
          </p:cNvPr>
          <p:cNvGrpSpPr/>
          <p:nvPr userDrawn="1"/>
        </p:nvGrpSpPr>
        <p:grpSpPr>
          <a:xfrm>
            <a:off x="6251304" y="94317"/>
            <a:ext cx="5940696" cy="6763683"/>
            <a:chOff x="4688478" y="70738"/>
            <a:chExt cx="4455522" cy="5072762"/>
          </a:xfrm>
        </p:grpSpPr>
        <p:pic>
          <p:nvPicPr>
            <p:cNvPr id="17" name="Picture 16" descr="Icon&#10;&#10;Description automatically generated">
              <a:extLst>
                <a:ext uri="{FF2B5EF4-FFF2-40B4-BE49-F238E27FC236}">
                  <a16:creationId xmlns:a16="http://schemas.microsoft.com/office/drawing/2014/main" id="{794F7797-BA4F-ED8B-2FE5-589B4CEA9C3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86" t="-891" r="35123" b="29734"/>
            <a:stretch/>
          </p:blipFill>
          <p:spPr>
            <a:xfrm>
              <a:off x="4706020" y="70738"/>
              <a:ext cx="4437980" cy="5072762"/>
            </a:xfrm>
            <a:prstGeom prst="rect">
              <a:avLst/>
            </a:prstGeom>
          </p:spPr>
        </p:pic>
        <p:pic>
          <p:nvPicPr>
            <p:cNvPr id="19" name="Picture 18" descr="Icon&#10;&#10;Description automatically generated">
              <a:extLst>
                <a:ext uri="{FF2B5EF4-FFF2-40B4-BE49-F238E27FC236}">
                  <a16:creationId xmlns:a16="http://schemas.microsoft.com/office/drawing/2014/main" id="{77CBBFF6-4414-4991-6533-1305D6031A7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86" t="-891" r="35123" b="29734"/>
            <a:stretch/>
          </p:blipFill>
          <p:spPr>
            <a:xfrm>
              <a:off x="4688478" y="70738"/>
              <a:ext cx="4437980" cy="5072762"/>
            </a:xfrm>
            <a:prstGeom prst="rect">
              <a:avLst/>
            </a:prstGeom>
          </p:spPr>
        </p:pic>
        <p:pic>
          <p:nvPicPr>
            <p:cNvPr id="23" name="Picture 22" descr="Icon&#10;&#10;Description automatically generated">
              <a:extLst>
                <a:ext uri="{FF2B5EF4-FFF2-40B4-BE49-F238E27FC236}">
                  <a16:creationId xmlns:a16="http://schemas.microsoft.com/office/drawing/2014/main" id="{867C4DB1-2CB1-2761-ACD3-A5EAB7411DF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86" t="-891" r="35123" b="29734"/>
            <a:stretch/>
          </p:blipFill>
          <p:spPr>
            <a:xfrm>
              <a:off x="4706020" y="70738"/>
              <a:ext cx="4437980" cy="5072762"/>
            </a:xfrm>
            <a:prstGeom prst="rect">
              <a:avLst/>
            </a:prstGeom>
          </p:spPr>
        </p:pic>
      </p:grpSp>
      <p:sp>
        <p:nvSpPr>
          <p:cNvPr id="7" name="Oval 6">
            <a:extLst>
              <a:ext uri="{FF2B5EF4-FFF2-40B4-BE49-F238E27FC236}">
                <a16:creationId xmlns:a16="http://schemas.microsoft.com/office/drawing/2014/main" id="{07CB7438-AD27-9D22-D7CC-5FBE084BF543}"/>
              </a:ext>
            </a:extLst>
          </p:cNvPr>
          <p:cNvSpPr/>
          <p:nvPr userDrawn="1"/>
        </p:nvSpPr>
        <p:spPr>
          <a:xfrm>
            <a:off x="8886161" y="3536825"/>
            <a:ext cx="2097740" cy="20977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pic>
        <p:nvPicPr>
          <p:cNvPr id="25" name="Picture 24" descr="A person with his arms crossed&#10;&#10;Description automatically generated with medium confidence">
            <a:extLst>
              <a:ext uri="{FF2B5EF4-FFF2-40B4-BE49-F238E27FC236}">
                <a16:creationId xmlns:a16="http://schemas.microsoft.com/office/drawing/2014/main" id="{B46034BB-8A8C-0839-0B6C-027187665E3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81694" y="2032001"/>
            <a:ext cx="3716740" cy="4825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576415"/>
      </p:ext>
    </p:extLst>
  </p:cSld>
  <p:clrMapOvr>
    <a:masterClrMapping/>
  </p:clrMapOvr>
  <p:hf hdr="0" dt="0"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 Social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70B63DD-888D-6B0E-DEA1-201EF89D7F9B}"/>
              </a:ext>
            </a:extLst>
          </p:cNvPr>
          <p:cNvSpPr/>
          <p:nvPr userDrawn="1"/>
        </p:nvSpPr>
        <p:spPr>
          <a:xfrm>
            <a:off x="0" y="0"/>
            <a:ext cx="12192000" cy="6144768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89000"/>
                </a:schemeClr>
              </a:gs>
              <a:gs pos="23000">
                <a:schemeClr val="accent2">
                  <a:lumMod val="89000"/>
                </a:schemeClr>
              </a:gs>
              <a:gs pos="69000">
                <a:schemeClr val="accent2">
                  <a:lumMod val="75000"/>
                </a:schemeClr>
              </a:gs>
              <a:gs pos="97000">
                <a:schemeClr val="accent2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sp>
        <p:nvSpPr>
          <p:cNvPr id="8" name="TextBox 7"/>
          <p:cNvSpPr txBox="1"/>
          <p:nvPr/>
        </p:nvSpPr>
        <p:spPr>
          <a:xfrm>
            <a:off x="430307" y="4571151"/>
            <a:ext cx="627160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Social</a:t>
            </a:r>
            <a:r>
              <a:rPr lang="en-US" sz="4000" b="1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a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181085" y="4585787"/>
            <a:ext cx="494202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Photos</a:t>
            </a:r>
          </a:p>
        </p:txBody>
      </p:sp>
      <p:sp>
        <p:nvSpPr>
          <p:cNvPr id="4" name="&quot;No&quot; Symbol 3">
            <a:extLst>
              <a:ext uri="{FF2B5EF4-FFF2-40B4-BE49-F238E27FC236}">
                <a16:creationId xmlns:a16="http://schemas.microsoft.com/office/drawing/2014/main" id="{E66CBF15-AB86-B34C-9871-8CA24DF2AF15}"/>
              </a:ext>
            </a:extLst>
          </p:cNvPr>
          <p:cNvSpPr/>
          <p:nvPr/>
        </p:nvSpPr>
        <p:spPr>
          <a:xfrm>
            <a:off x="2020023" y="1025828"/>
            <a:ext cx="3092173" cy="3092173"/>
          </a:xfrm>
          <a:prstGeom prst="noSmoking">
            <a:avLst>
              <a:gd name="adj" fmla="val 1674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27" name="&quot;No&quot; Symbol 26">
            <a:extLst>
              <a:ext uri="{FF2B5EF4-FFF2-40B4-BE49-F238E27FC236}">
                <a16:creationId xmlns:a16="http://schemas.microsoft.com/office/drawing/2014/main" id="{A9FDC936-1DB3-E349-BF29-2C2FBCB70CF9}"/>
              </a:ext>
            </a:extLst>
          </p:cNvPr>
          <p:cNvSpPr/>
          <p:nvPr/>
        </p:nvSpPr>
        <p:spPr>
          <a:xfrm>
            <a:off x="7069287" y="1025828"/>
            <a:ext cx="3092173" cy="3092173"/>
          </a:xfrm>
          <a:prstGeom prst="noSmoking">
            <a:avLst>
              <a:gd name="adj" fmla="val 1674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1A478D5-C1E8-3D47-AF35-7DEC6D545F7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144123"/>
      </p:ext>
    </p:extLst>
  </p:cSld>
  <p:clrMapOvr>
    <a:masterClrMapping/>
  </p:clrMapOvr>
  <p:hf hdr="0" dt="0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(li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7508FBD-30BF-AC98-CD51-D0ECA499469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94049"/>
                  <a:lumOff val="5951"/>
                </a:schemeClr>
              </a:gs>
              <a:gs pos="23000">
                <a:schemeClr val="accent1">
                  <a:lumMod val="94000"/>
                  <a:lumOff val="6000"/>
                </a:schemeClr>
              </a:gs>
              <a:gs pos="69000">
                <a:schemeClr val="accent1">
                  <a:lumMod val="75000"/>
                </a:schemeClr>
              </a:gs>
              <a:gs pos="96000">
                <a:schemeClr val="tx2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407780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2984666" y="0"/>
            <a:ext cx="9207335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2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 rtl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0B7E561F-D2B1-4D40-9A4F-63CA09A7D04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8CB5B7F-2AE1-7241-AB15-A145D7FDD2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05200" y="635831"/>
            <a:ext cx="8174568" cy="5703212"/>
          </a:xfrm>
        </p:spPr>
        <p:txBody>
          <a:bodyPr>
            <a:noAutofit/>
          </a:bodyPr>
          <a:lstStyle>
            <a:lvl1pPr marL="380990" indent="-222245" rtl="0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 marL="426709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System Font Regular"/>
              <a:buNone/>
              <a:defRPr>
                <a:solidFill>
                  <a:schemeClr val="bg1">
                    <a:lumMod val="65000"/>
                  </a:schemeClr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  <a:p>
            <a:pPr lvl="0"/>
            <a:r>
              <a:rPr lang="en-US" dirty="0"/>
              <a:t>Item</a:t>
            </a:r>
          </a:p>
          <a:p>
            <a:pPr lvl="0"/>
            <a:r>
              <a:rPr lang="en-US" dirty="0"/>
              <a:t>Item</a:t>
            </a:r>
          </a:p>
          <a:p>
            <a:pPr lvl="0"/>
            <a:r>
              <a:rPr lang="en-US" dirty="0"/>
              <a:t>Item</a:t>
            </a:r>
          </a:p>
          <a:p>
            <a:pPr lvl="0"/>
            <a:r>
              <a:rPr lang="en-US" dirty="0"/>
              <a:t>Item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996ACFF-8824-394E-92C3-C9BE4A7A6116}"/>
              </a:ext>
            </a:extLst>
          </p:cNvPr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4409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F56E952B-9163-6868-FCCE-2D85FD95A6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94049"/>
                  <a:lumOff val="5951"/>
                </a:schemeClr>
              </a:gs>
              <a:gs pos="23000">
                <a:schemeClr val="accent1">
                  <a:lumMod val="94000"/>
                  <a:lumOff val="6000"/>
                </a:schemeClr>
              </a:gs>
              <a:gs pos="69000">
                <a:schemeClr val="accent1">
                  <a:lumMod val="75000"/>
                </a:schemeClr>
              </a:gs>
              <a:gs pos="96000">
                <a:schemeClr val="tx2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4F1E835-AB1E-4F37-9C5B-3BA83DFD617B}"/>
              </a:ext>
            </a:extLst>
          </p:cNvPr>
          <p:cNvSpPr/>
          <p:nvPr userDrawn="1"/>
        </p:nvSpPr>
        <p:spPr>
          <a:xfrm flipH="1">
            <a:off x="2984666" y="0"/>
            <a:ext cx="9207335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2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407780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 rtl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0B7E561F-D2B1-4D40-9A4F-63CA09A7D04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996ACFF-8824-394E-92C3-C9BE4A7A6116}"/>
              </a:ext>
            </a:extLst>
          </p:cNvPr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able Placeholder 20">
            <a:extLst>
              <a:ext uri="{FF2B5EF4-FFF2-40B4-BE49-F238E27FC236}">
                <a16:creationId xmlns:a16="http://schemas.microsoft.com/office/drawing/2014/main" id="{D89A8FBA-BC5A-4DB3-75C0-931FCCA4B4E6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505201" y="642408"/>
            <a:ext cx="8005233" cy="5488571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737654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60400" y="1883508"/>
            <a:ext cx="5218192" cy="4184337"/>
          </a:xfrm>
        </p:spPr>
        <p:txBody>
          <a:bodyPr tIns="0" bIns="0">
            <a:noAutofit/>
          </a:bodyPr>
          <a:lstStyle>
            <a:lvl1pPr marL="228594" indent="-228594"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262607" y="1883508"/>
            <a:ext cx="5218192" cy="4184336"/>
          </a:xfrm>
        </p:spPr>
        <p:txBody>
          <a:bodyPr tIns="0" bIns="0">
            <a:noAutofit/>
          </a:bodyPr>
          <a:lstStyle>
            <a:lvl1pPr marL="228594" indent="-228594"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DF1DFA-04C1-AC4E-85CF-5F12D85BB3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420361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928876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521840"/>
          </a:xfrm>
        </p:spPr>
        <p:txBody>
          <a:bodyPr vert="horz"/>
          <a:lstStyle>
            <a:lvl1pPr rtl="0">
              <a:lnSpc>
                <a:spcPct val="90000"/>
              </a:lnSpc>
              <a:defRPr sz="3733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60400" y="1593669"/>
            <a:ext cx="10822763" cy="4474176"/>
          </a:xfrm>
        </p:spPr>
        <p:txBody>
          <a:bodyPr tIns="0" bIns="0">
            <a:noAutofit/>
          </a:bodyPr>
          <a:lstStyle>
            <a:lvl1pPr marL="228594" indent="-228594" rtl="0"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85783" indent="-228594" rtl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18610" indent="-152396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21287" indent="-150280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26079" indent="-154513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973875"/>
            <a:ext cx="10808407" cy="324883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0298519-CC8E-F148-AEAB-152C16C51C3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704C4AB5-F68F-5271-34CC-583BEE75C324}"/>
              </a:ext>
            </a:extLst>
          </p:cNvPr>
          <p:cNvGrpSpPr/>
          <p:nvPr userDrawn="1"/>
        </p:nvGrpSpPr>
        <p:grpSpPr>
          <a:xfrm>
            <a:off x="-330925" y="478972"/>
            <a:ext cx="231804" cy="1402080"/>
            <a:chOff x="-111034" y="359229"/>
            <a:chExt cx="1158022" cy="1051560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0BE078D9-B28C-9ABB-B628-1E78AE2EBFE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D22C2688-657D-AEF0-CFB9-6345D81C7F4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4121C83E-077F-ABA4-2E91-7B1CF1FE8C6C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50FC8082-9BE6-7E8A-6BCB-262857A3B14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D9FE133-CC26-041F-947D-7C50501DD13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92BAF269-2331-3715-C501-AD7B397BDF8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80224147"/>
      </p:ext>
    </p:extLst>
  </p:cSld>
  <p:clrMapOvr>
    <a:masterClrMapping/>
  </p:clrMapOvr>
  <p:hf hdr="0" dt="0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(No 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3426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 vert="horz"/>
          <a:lstStyle>
            <a:lvl1pPr rtl="0">
              <a:lnSpc>
                <a:spcPct val="90000"/>
              </a:lnSpc>
              <a:defRPr sz="3733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A9E7F9D-BD52-E840-B06E-13D456ADC60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02982BD-CE65-794E-AA5D-470908267218}"/>
              </a:ext>
            </a:extLst>
          </p:cNvPr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70EBF32-3EE7-914A-08BE-A29D454E7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0400" y="1593669"/>
            <a:ext cx="10822763" cy="4474176"/>
          </a:xfrm>
        </p:spPr>
        <p:txBody>
          <a:bodyPr tIns="0" bIns="0">
            <a:noAutofit/>
          </a:bodyPr>
          <a:lstStyle>
            <a:lvl1pPr marL="228594" indent="-228594" rtl="0"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85783" indent="-228594" rtl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18610" indent="-152396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21287" indent="-150280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26079" indent="-154513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63ECD69-E7D2-FC78-1AD8-2020AECEE3BF}"/>
              </a:ext>
            </a:extLst>
          </p:cNvPr>
          <p:cNvGrpSpPr/>
          <p:nvPr userDrawn="1"/>
        </p:nvGrpSpPr>
        <p:grpSpPr>
          <a:xfrm>
            <a:off x="-330925" y="478972"/>
            <a:ext cx="231804" cy="1402080"/>
            <a:chOff x="-111034" y="359229"/>
            <a:chExt cx="1158022" cy="1051560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88BDCA2-126C-285A-840C-610CABDBA41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DBBA0F05-0A5F-0000-BBC7-CD14B092CFF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207DCC3-9F0A-3EB7-476C-9E135767D4C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136513F-9326-85FF-6DC6-68B65ED9F62C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8095A34-F2E2-A3C2-889D-8F8E2BE4A63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AFE67A5F-3E16-0F4C-E296-05C4282E415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2594912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091201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521840"/>
          </a:xfrm>
        </p:spPr>
        <p:txBody>
          <a:bodyPr vert="horz"/>
          <a:lstStyle>
            <a:lvl1pPr rtl="0">
              <a:lnSpc>
                <a:spcPct val="90000"/>
              </a:lnSpc>
              <a:defRPr sz="3733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973875"/>
            <a:ext cx="10808407" cy="324883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3BBCA98-52C5-7E47-A06C-F07FE9F33E3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18880699-FC7F-A94F-5469-A4E5B4A5D7D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0400" y="1593669"/>
            <a:ext cx="4991463" cy="4474176"/>
          </a:xfrm>
        </p:spPr>
        <p:txBody>
          <a:bodyPr tIns="0" bIns="0">
            <a:noAutofit/>
          </a:bodyPr>
          <a:lstStyle>
            <a:lvl1pPr marL="228594" indent="-228594" rtl="0"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85783" indent="-228594" rtl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18610" indent="-152396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21287" indent="-150280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26079" indent="-154513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55306FA-6C30-6944-1A20-86B5A6E7C9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68721" y="1593669"/>
            <a:ext cx="4991463" cy="4474176"/>
          </a:xfrm>
        </p:spPr>
        <p:txBody>
          <a:bodyPr tIns="0" bIns="0">
            <a:noAutofit/>
          </a:bodyPr>
          <a:lstStyle>
            <a:lvl1pPr marL="228594" indent="-228594" rtl="0"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85783" indent="-228594" rtl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18610" indent="-152396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21287" indent="-150280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26079" indent="-154513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D5868B0-9C07-EA9E-55AA-953197478475}"/>
              </a:ext>
            </a:extLst>
          </p:cNvPr>
          <p:cNvGrpSpPr/>
          <p:nvPr userDrawn="1"/>
        </p:nvGrpSpPr>
        <p:grpSpPr>
          <a:xfrm>
            <a:off x="-330925" y="478972"/>
            <a:ext cx="231804" cy="1402080"/>
            <a:chOff x="-111034" y="359229"/>
            <a:chExt cx="1158022" cy="1051560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EFFE31B-3677-A648-3EFB-603B0409379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B8843936-BF73-A7D1-C080-5736A256D2B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CB910518-926A-5B35-65DE-468299DE6DA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F2791AF8-DBA6-E577-F9AE-276727BA594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8922B00-A24C-5810-95D1-D9254A352D6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9E84D5A6-1CCD-56D0-9F6F-8E4EEAF7CBB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40498256"/>
      </p:ext>
    </p:extLst>
  </p:cSld>
  <p:clrMapOvr>
    <a:masterClrMapping/>
  </p:clrMapOvr>
  <p:hf hdr="0" dt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with open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113148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60399" y="1597139"/>
            <a:ext cx="10782047" cy="4138836"/>
          </a:xfrm>
        </p:spPr>
        <p:txBody>
          <a:bodyPr tIns="0" bIns="0">
            <a:noAutofit/>
          </a:bodyPr>
          <a:lstStyle>
            <a:lvl1pPr marL="228594" indent="-228594" rtl="0"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85783" indent="-228594" rtl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18610" indent="-152396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21287" indent="-150280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26079" indent="-154513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521840"/>
          </a:xfrm>
        </p:spPr>
        <p:txBody>
          <a:bodyPr vert="horz"/>
          <a:lstStyle>
            <a:lvl1pPr rtl="0">
              <a:lnSpc>
                <a:spcPct val="90000"/>
              </a:lnSpc>
              <a:defRPr sz="3733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973875"/>
            <a:ext cx="10808407" cy="324883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54C9B13-5D03-884F-8851-0EFF8DED8DF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14726B90-E0AD-1E74-4E99-26E946580A30}"/>
              </a:ext>
            </a:extLst>
          </p:cNvPr>
          <p:cNvGrpSpPr/>
          <p:nvPr userDrawn="1"/>
        </p:nvGrpSpPr>
        <p:grpSpPr>
          <a:xfrm>
            <a:off x="-330925" y="478972"/>
            <a:ext cx="231804" cy="1402080"/>
            <a:chOff x="-111034" y="359229"/>
            <a:chExt cx="1158022" cy="105156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C6B9AF2-EF7E-8EF1-7D9F-92383FAA955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F9CC2037-E77C-5C3A-4249-6E6FE3302D3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E75CD57-EBBB-A1F3-9ABB-83DAA32DD4F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C0A2C573-1E36-244E-1086-5291F48A161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FFBE5BB9-B952-CCD5-57EE-3D01E0A83B2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2CBB1758-AED6-61D6-5E48-03FC83157DCF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75795200"/>
      </p:ext>
    </p:extLst>
  </p:cSld>
  <p:clrMapOvr>
    <a:masterClrMapping/>
  </p:clrMapOvr>
  <p:hf hdr="0" dt="0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(des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832448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60399" y="1603000"/>
            <a:ext cx="10820399" cy="4105581"/>
          </a:xfrm>
        </p:spPr>
        <p:txBody>
          <a:bodyPr tIns="0" bIns="0">
            <a:noAutofit/>
          </a:bodyPr>
          <a:lstStyle>
            <a:lvl1pPr marL="0" indent="0" rtl="0">
              <a:buClr>
                <a:schemeClr val="accent5"/>
              </a:buClr>
              <a:buFontTx/>
              <a:buNone/>
              <a:defRPr sz="2667" b="1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51" indent="0" rtl="0">
              <a:buClr>
                <a:schemeClr val="accent5"/>
              </a:buClr>
              <a:buFontTx/>
              <a:buNone/>
              <a:tabLst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14377" indent="0">
              <a:buClr>
                <a:schemeClr val="accent5"/>
              </a:buClr>
              <a:buFontTx/>
              <a:buNone/>
              <a:tabLst/>
              <a:defRPr sz="1867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521840"/>
          </a:xfrm>
        </p:spPr>
        <p:txBody>
          <a:bodyPr vert="horz"/>
          <a:lstStyle>
            <a:lvl1pPr rtl="0">
              <a:lnSpc>
                <a:spcPct val="90000"/>
              </a:lnSpc>
              <a:defRPr sz="3733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973875"/>
            <a:ext cx="10808407" cy="324883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D2E2650B-E06B-834F-B8BE-DD8E98F5E29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39FB7758-3E05-8D9C-112A-2C1C18171DFF}"/>
              </a:ext>
            </a:extLst>
          </p:cNvPr>
          <p:cNvGrpSpPr/>
          <p:nvPr userDrawn="1"/>
        </p:nvGrpSpPr>
        <p:grpSpPr>
          <a:xfrm>
            <a:off x="-330925" y="478972"/>
            <a:ext cx="231804" cy="1402080"/>
            <a:chOff x="-111034" y="359229"/>
            <a:chExt cx="1158022" cy="105156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272EE22C-33A3-03A4-9949-3713E48EEAA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E581B190-33BA-4F44-273E-F2F9DE24605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36B9A871-3D6C-B3D3-FC17-EC22B89ECB1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7DEE9CD-D82F-7B1C-BBB5-9DB7A50A066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D8A656AD-E239-CE61-999E-C12C2C718F7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FB9BFA86-5D8C-7D4A-EB8C-76DCC7ED5E5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60377435"/>
      </p:ext>
    </p:extLst>
  </p:cSld>
  <p:clrMapOvr>
    <a:masterClrMapping/>
  </p:clrMapOvr>
  <p:hf hdr="0" dt="0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20828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521840"/>
          </a:xfrm>
        </p:spPr>
        <p:txBody>
          <a:bodyPr vert="horz"/>
          <a:lstStyle>
            <a:lvl1pPr rtl="0">
              <a:lnSpc>
                <a:spcPct val="90000"/>
              </a:lnSpc>
              <a:defRPr sz="3733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973875"/>
            <a:ext cx="10808407" cy="324883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CA5DD24B-CE7F-274D-8C3C-FE5613AAFAC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11444404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444404" y="6331592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>
          <a:xfrm>
            <a:off x="11444404" y="6344826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444404" y="6335464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AF511A3-81CA-BD40-8853-F2B4E6B3C42C}"/>
              </a:ext>
            </a:extLst>
          </p:cNvPr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FD1DA16-2A53-99D8-3EBE-EFDF970AC887}"/>
              </a:ext>
            </a:extLst>
          </p:cNvPr>
          <p:cNvGrpSpPr/>
          <p:nvPr userDrawn="1"/>
        </p:nvGrpSpPr>
        <p:grpSpPr>
          <a:xfrm>
            <a:off x="-330925" y="478972"/>
            <a:ext cx="231804" cy="1402080"/>
            <a:chOff x="-111034" y="359229"/>
            <a:chExt cx="1158022" cy="105156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FE1BE6ED-5E3E-515F-50B3-AEF43F68ED2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918AD2-B56E-70C5-BC42-1A2CF0E545B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A89627E-0160-AF9E-CA71-6632C77C100F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F588923-2E4B-B8FE-C700-561E2215496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5C0ECA02-2D04-573A-6879-147FA181A00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6836872-3CD6-E14F-F461-70202099A53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2637333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435103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 vert="horz"/>
          <a:lstStyle>
            <a:lvl1pPr rtl="0">
              <a:lnSpc>
                <a:spcPct val="90000"/>
              </a:lnSpc>
              <a:defRPr sz="3733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1A3B2C1-E0E3-7D47-ABB5-A375C552A5C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56660C7-4F0B-524E-A704-AE273120CEAD}"/>
              </a:ext>
            </a:extLst>
          </p:cNvPr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B662FDE-3372-F845-930A-5A4AB8A12913}"/>
              </a:ext>
            </a:extLst>
          </p:cNvPr>
          <p:cNvGrpSpPr/>
          <p:nvPr userDrawn="1"/>
        </p:nvGrpSpPr>
        <p:grpSpPr>
          <a:xfrm>
            <a:off x="-330925" y="478972"/>
            <a:ext cx="231804" cy="1402080"/>
            <a:chOff x="-111034" y="359229"/>
            <a:chExt cx="1158022" cy="1051560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A8BDFB93-DAB0-7331-5B8D-C7B5FF075DA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7ADF8273-2642-CB11-6922-172DAF18BF5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C3AD34E-0F3F-8DEB-A432-648A86D7751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9F162CD-15F4-B095-9716-F236FD847C4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4C414CB8-2E07-09E5-51E5-33FBE0A9C87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9F48E30-7C9D-AFF2-5085-B6206F9CC11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4324177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885032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78781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778781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3559560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3559560" y="4267700"/>
            <a:ext cx="2008176" cy="308976"/>
          </a:xfrm>
        </p:spPr>
        <p:txBody>
          <a:bodyPr tIns="0" bIns="0">
            <a:noAutofit/>
          </a:bodyPr>
          <a:lstStyle>
            <a:lvl1pPr marL="0" marR="0" indent="0" algn="ctr" defTabSz="914377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marL="0" marR="0" lvl="0" indent="0" algn="ctr" defTabSz="914377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6348689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6348689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26"/>
          </p:nvPr>
        </p:nvSpPr>
        <p:spPr>
          <a:xfrm>
            <a:off x="9112767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9112767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521840"/>
          </a:xfrm>
        </p:spPr>
        <p:txBody>
          <a:bodyPr vert="horz"/>
          <a:lstStyle>
            <a:lvl1pPr rtl="0">
              <a:lnSpc>
                <a:spcPct val="90000"/>
              </a:lnSpc>
              <a:defRPr sz="3733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973875"/>
            <a:ext cx="10808407" cy="324883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BC86D21F-0EB9-F14C-A173-75ECA0CAE9B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9832F078-384A-48CF-B280-575038E63097}"/>
              </a:ext>
            </a:extLst>
          </p:cNvPr>
          <p:cNvGrpSpPr/>
          <p:nvPr userDrawn="1"/>
        </p:nvGrpSpPr>
        <p:grpSpPr>
          <a:xfrm>
            <a:off x="-330925" y="478972"/>
            <a:ext cx="231804" cy="1402080"/>
            <a:chOff x="-111034" y="359229"/>
            <a:chExt cx="1158022" cy="1051560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DF444BB2-87E0-1739-A385-A83CCF98C3C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292BCFEC-908D-4903-FC39-19BE1F16DF8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40275F0E-D280-8FCC-D544-C294D697F3C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60E10DD3-6163-A36F-7F6F-4339C48CD64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5E8C34E3-6C9F-317A-6405-A6039F6436C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958D6ACB-17CD-C506-05C8-3DE4908EFF2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66414471"/>
      </p:ext>
    </p:extLst>
  </p:cSld>
  <p:clrMapOvr>
    <a:masterClrMapping/>
  </p:clrMapOvr>
  <p:hf hdr="0" dt="0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ght Background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EE97B51-9F12-8747-98EF-0F5880AB38E8}"/>
              </a:ext>
            </a:extLst>
          </p:cNvPr>
          <p:cNvSpPr/>
          <p:nvPr/>
        </p:nvSpPr>
        <p:spPr>
          <a:xfrm>
            <a:off x="0" y="1380565"/>
            <a:ext cx="12192000" cy="54774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2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594044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521840"/>
          </a:xfrm>
        </p:spPr>
        <p:txBody>
          <a:bodyPr vert="horz"/>
          <a:lstStyle>
            <a:lvl1pPr rtl="0">
              <a:lnSpc>
                <a:spcPct val="90000"/>
              </a:lnSpc>
              <a:defRPr sz="3733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973875"/>
            <a:ext cx="10808407" cy="324883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F204A3BE-129A-904E-8E76-84CE5C71A0B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9AD559E6-E466-6348-CC68-A657E844ED21}"/>
              </a:ext>
            </a:extLst>
          </p:cNvPr>
          <p:cNvGrpSpPr/>
          <p:nvPr userDrawn="1"/>
        </p:nvGrpSpPr>
        <p:grpSpPr>
          <a:xfrm>
            <a:off x="-743415" y="478972"/>
            <a:ext cx="644293" cy="1402080"/>
            <a:chOff x="-557561" y="359229"/>
            <a:chExt cx="483220" cy="1051560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AB728A6-3AC1-EE16-7933-29F7ECFAF773}"/>
                </a:ext>
              </a:extLst>
            </p:cNvPr>
            <p:cNvGrpSpPr/>
            <p:nvPr userDrawn="1"/>
          </p:nvGrpSpPr>
          <p:grpSpPr>
            <a:xfrm>
              <a:off x="-248194" y="359229"/>
              <a:ext cx="173853" cy="1051560"/>
              <a:chOff x="-111034" y="359229"/>
              <a:chExt cx="1158022" cy="1051560"/>
            </a:xfrm>
          </p:grpSpPr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1CAD5587-BD1A-23D0-77E6-0F7279AE27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613954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ACC25AF0-FBC6-B36F-ABA4-A7307DE7865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947057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79FE45EE-E6AE-07C6-63C1-7F07DEA8868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359229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A2693568-4693-DCFA-DDED-351C9E7D5D4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751114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5399DC3A-9DD8-3575-28AA-34E311926EF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208314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E63FEB28-B2C0-08D7-4AD8-05E47D84C0D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410789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4512095-2A4D-D6D5-0D29-EC0F82C54B4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57561" y="1035424"/>
              <a:ext cx="483220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50317804"/>
      </p:ext>
    </p:extLst>
  </p:cSld>
  <p:clrMapOvr>
    <a:masterClrMapping/>
  </p:clrMapOvr>
  <p:hf hdr="0" dt="0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585885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2AD132A-F027-0046-B334-DA338DE9CD4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430310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 with open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F6B2C362-5767-48C1-B430-363866538C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0" y="1883508"/>
            <a:ext cx="5218192" cy="4184337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0077776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585885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4024317"/>
      </p:ext>
    </p:extLst>
  </p:cSld>
  <p:clrMapOvr>
    <a:masterClrMapping/>
  </p:clrMapOvr>
  <p:hf hdr="0" dt="0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Sub Only w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FE5F67C3-640D-4740-AA2B-707DBF50B79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380565"/>
            <a:ext cx="12192000" cy="5477435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979464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70ADAD5-48CB-8B42-8F56-B9D5F413BE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904EB8B-0613-3448-B6F5-B26E8EF39224}"/>
              </a:ext>
            </a:extLst>
          </p:cNvPr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4108B42-A27C-8B7E-E44C-0D020114A127}"/>
              </a:ext>
            </a:extLst>
          </p:cNvPr>
          <p:cNvGrpSpPr/>
          <p:nvPr userDrawn="1"/>
        </p:nvGrpSpPr>
        <p:grpSpPr>
          <a:xfrm>
            <a:off x="-743415" y="478972"/>
            <a:ext cx="644293" cy="1402080"/>
            <a:chOff x="-557561" y="359229"/>
            <a:chExt cx="483220" cy="1051560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9BDF43F1-E255-B2E0-C15C-32E34102F4D1}"/>
                </a:ext>
              </a:extLst>
            </p:cNvPr>
            <p:cNvGrpSpPr/>
            <p:nvPr userDrawn="1"/>
          </p:nvGrpSpPr>
          <p:grpSpPr>
            <a:xfrm>
              <a:off x="-248194" y="359229"/>
              <a:ext cx="173853" cy="1051560"/>
              <a:chOff x="-111034" y="359229"/>
              <a:chExt cx="1158022" cy="1051560"/>
            </a:xfrm>
          </p:grpSpPr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864AE85D-E003-D62A-4773-D5AF6965CE2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613954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BB9BCADB-72B4-C69B-1660-4B19552CBFB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947057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12A995B7-DD63-AEB0-4779-505A0170EB7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359229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A36D9F91-51D1-E4F1-E9E6-08E096F5822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751114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FC88D5B1-AC51-C541-7F23-0DFDE5B623B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208314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58E38D51-5960-6A1F-E41D-8B2FD2DE385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410789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554E53F5-A5C4-1A05-7F59-DD1980DF47B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57561" y="1035424"/>
              <a:ext cx="48322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5093022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3FD1B140-E768-9349-BB52-F77A0C5FBD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380565"/>
            <a:ext cx="12192000" cy="5477435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76AB655-D4B9-9243-AD57-0AA839977E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342181B-50EC-034D-8863-722F7C2872A7}"/>
              </a:ext>
            </a:extLst>
          </p:cNvPr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22CF4EE-4F09-56FD-B1DC-48FE0170CC86}"/>
              </a:ext>
            </a:extLst>
          </p:cNvPr>
          <p:cNvGrpSpPr/>
          <p:nvPr userDrawn="1"/>
        </p:nvGrpSpPr>
        <p:grpSpPr>
          <a:xfrm>
            <a:off x="-743415" y="478972"/>
            <a:ext cx="644293" cy="1402080"/>
            <a:chOff x="-557561" y="359229"/>
            <a:chExt cx="483220" cy="1051560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3B28EB5-18BE-C939-5044-1BD3F2DA5E67}"/>
                </a:ext>
              </a:extLst>
            </p:cNvPr>
            <p:cNvGrpSpPr/>
            <p:nvPr userDrawn="1"/>
          </p:nvGrpSpPr>
          <p:grpSpPr>
            <a:xfrm>
              <a:off x="-248194" y="359229"/>
              <a:ext cx="173853" cy="1051560"/>
              <a:chOff x="-111034" y="359229"/>
              <a:chExt cx="1158022" cy="1051560"/>
            </a:xfrm>
          </p:grpSpPr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DB07229-A57B-C47B-24DD-2BD68EAD71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613954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497EEA44-B1D6-C7A7-4CA4-BAB0D777838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947057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5ABC68A9-B239-D2BB-E99F-6AEE83B416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359229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A31629A5-192D-ED8F-A107-27C5D759945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751114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7D1A9B47-6BD9-6BE5-B25A-1183F04F182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208314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0E747622-76E8-E7E1-806B-1942ED3E14E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410789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0437313-FE45-0E11-9079-7B1C1D619BD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57561" y="1035424"/>
              <a:ext cx="48322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7837481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79A4FE8-5BBD-5144-B80B-83166EEC7B1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9357292"/>
      </p:ext>
    </p:extLst>
  </p:cSld>
  <p:clrMapOvr>
    <a:masterClrMapping/>
  </p:clrMapOvr>
  <p:hf hdr="0" dt="0"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+ Content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79067" cy="68580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599665" y="366186"/>
            <a:ext cx="5206200" cy="1043020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99665" y="1492712"/>
            <a:ext cx="5206200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6603275" y="2090379"/>
            <a:ext cx="5218192" cy="3837285"/>
          </a:xfrm>
        </p:spPr>
        <p:txBody>
          <a:bodyPr tIns="0" bIns="0">
            <a:noAutofit/>
          </a:bodyPr>
          <a:lstStyle>
            <a:lvl1pPr marL="228594" indent="-228594"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DE1BD30-ECE7-D498-506C-BD98CAA01DFB}"/>
              </a:ext>
            </a:extLst>
          </p:cNvPr>
          <p:cNvGrpSpPr/>
          <p:nvPr userDrawn="1"/>
        </p:nvGrpSpPr>
        <p:grpSpPr>
          <a:xfrm>
            <a:off x="-743415" y="478972"/>
            <a:ext cx="644293" cy="1402080"/>
            <a:chOff x="-557561" y="359229"/>
            <a:chExt cx="483220" cy="1051560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1F397304-18FE-BAA5-780F-365F5532FE4E}"/>
                </a:ext>
              </a:extLst>
            </p:cNvPr>
            <p:cNvGrpSpPr/>
            <p:nvPr userDrawn="1"/>
          </p:nvGrpSpPr>
          <p:grpSpPr>
            <a:xfrm>
              <a:off x="-248194" y="359229"/>
              <a:ext cx="173853" cy="1051560"/>
              <a:chOff x="-111034" y="359229"/>
              <a:chExt cx="1158022" cy="1051560"/>
            </a:xfrm>
          </p:grpSpPr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D72820CD-059E-3023-AD70-42FECF86FB7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613954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EAA11259-8C6A-00C2-B70E-4FAB9391909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947057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BEFF3218-58D7-98DA-DDEE-2EDC1C93DD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359229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B3B4FB6F-16B5-D20D-0B30-25F1DE02AC6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751114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D09E66A1-20AB-79BB-69E7-8CA500E76A2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208314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7FFD3064-E474-61F4-8143-7258E3DAF4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410789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FFB0EF1-A20A-F2AA-6EF8-39F3A8C51503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57561" y="1035424"/>
              <a:ext cx="483220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89495893"/>
      </p:ext>
    </p:extLst>
  </p:cSld>
  <p:clrMapOvr>
    <a:masterClrMapping/>
  </p:clrMapOvr>
  <p:hf hdr="0" dt="0"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Content (des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601365" y="2101822"/>
            <a:ext cx="5218192" cy="3845665"/>
          </a:xfrm>
        </p:spPr>
        <p:txBody>
          <a:bodyPr tIns="0" bIns="0">
            <a:noAutofit/>
          </a:bodyPr>
          <a:lstStyle>
            <a:lvl1pPr marL="0" indent="0">
              <a:buClr>
                <a:schemeClr val="accent5"/>
              </a:buClr>
              <a:buFontTx/>
              <a:buNone/>
              <a:defRPr sz="2667" b="1">
                <a:solidFill>
                  <a:schemeClr val="accent5"/>
                </a:solidFill>
              </a:defRPr>
            </a:lvl1pPr>
            <a:lvl2pPr marL="6351" indent="0">
              <a:buClr>
                <a:schemeClr val="accent5"/>
              </a:buClr>
              <a:buFontTx/>
              <a:buNone/>
              <a:tabLst/>
              <a:defRPr sz="2400">
                <a:solidFill>
                  <a:schemeClr val="tx1"/>
                </a:solidFill>
              </a:defRPr>
            </a:lvl2pPr>
            <a:lvl3pPr marL="914377" indent="0">
              <a:buClr>
                <a:schemeClr val="accent5"/>
              </a:buClr>
              <a:buFontTx/>
              <a:buNone/>
              <a:tabLst/>
              <a:defRPr sz="1867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79067" cy="68580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599665" y="366186"/>
            <a:ext cx="5206200" cy="1043020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99665" y="1482800"/>
            <a:ext cx="5206200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2A73945-33CC-F9B9-EB23-DEF3FCE42A85}"/>
              </a:ext>
            </a:extLst>
          </p:cNvPr>
          <p:cNvGrpSpPr/>
          <p:nvPr userDrawn="1"/>
        </p:nvGrpSpPr>
        <p:grpSpPr>
          <a:xfrm>
            <a:off x="-743415" y="478972"/>
            <a:ext cx="644293" cy="1402080"/>
            <a:chOff x="-557561" y="359229"/>
            <a:chExt cx="483220" cy="1051560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64809B2E-CFAC-B3C5-5F3C-2AA83E6F29A6}"/>
                </a:ext>
              </a:extLst>
            </p:cNvPr>
            <p:cNvGrpSpPr/>
            <p:nvPr userDrawn="1"/>
          </p:nvGrpSpPr>
          <p:grpSpPr>
            <a:xfrm>
              <a:off x="-248194" y="359229"/>
              <a:ext cx="173853" cy="1051560"/>
              <a:chOff x="-111034" y="359229"/>
              <a:chExt cx="1158022" cy="1051560"/>
            </a:xfrm>
          </p:grpSpPr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DDAAE5C6-983D-2653-7CC5-D09E56382D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613954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8DC8947F-3F66-8967-8B4D-3A7534A8B61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947057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1D684FBB-3D01-8FB5-C4DE-A349CB83483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359229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FC5210E3-7A77-306E-3E14-F919C8EA49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751114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E80D779B-124F-5B52-B3FA-C53897AD377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208314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9BA251FC-90F2-D64E-90F7-571A95ED6A0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410789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C388E1A-D35C-F812-FB20-55741118235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57561" y="1035424"/>
              <a:ext cx="483220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4320971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(stone)">
    <p:bg>
      <p:bgPr>
        <a:gradFill flip="none" rotWithShape="1">
          <a:gsLst>
            <a:gs pos="9000">
              <a:srgbClr val="FFFFFF"/>
            </a:gs>
            <a:gs pos="94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C44CE92-5FCB-E815-FE64-0EBAC5545841}"/>
              </a:ext>
            </a:extLst>
          </p:cNvPr>
          <p:cNvSpPr/>
          <p:nvPr userDrawn="1"/>
        </p:nvSpPr>
        <p:spPr>
          <a:xfrm>
            <a:off x="0" y="1"/>
            <a:ext cx="12192000" cy="6175356"/>
          </a:xfrm>
          <a:prstGeom prst="rect">
            <a:avLst/>
          </a:prstGeom>
          <a:gradFill flip="none" rotWithShape="1">
            <a:gsLst>
              <a:gs pos="1000">
                <a:schemeClr val="bg1">
                  <a:lumMod val="95000"/>
                </a:schemeClr>
              </a:gs>
              <a:gs pos="23000">
                <a:schemeClr val="bg1">
                  <a:lumMod val="92000"/>
                </a:schemeClr>
              </a:gs>
              <a:gs pos="68000">
                <a:schemeClr val="bg1">
                  <a:lumMod val="90000"/>
                </a:schemeClr>
              </a:gs>
              <a:gs pos="96000">
                <a:schemeClr val="bg1">
                  <a:lumMod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4" name="Rectangle 3"/>
          <p:cNvSpPr/>
          <p:nvPr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dirty="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713C83F-F5EB-CF4B-9886-DA96D760E02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pic>
        <p:nvPicPr>
          <p:cNvPr id="14" name="Picture 13" descr="Icon&#10;&#10;Description automatically generated">
            <a:extLst>
              <a:ext uri="{FF2B5EF4-FFF2-40B4-BE49-F238E27FC236}">
                <a16:creationId xmlns:a16="http://schemas.microsoft.com/office/drawing/2014/main" id="{2A3A037D-7B91-BAE0-4797-B02EE07678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540" b="25592"/>
          <a:stretch/>
        </p:blipFill>
        <p:spPr>
          <a:xfrm>
            <a:off x="6608964" y="1072444"/>
            <a:ext cx="5583037" cy="510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403096"/>
      </p:ext>
    </p:extLst>
  </p:cSld>
  <p:clrMapOvr>
    <a:masterClrMapping/>
  </p:clrMapOvr>
  <p:hf hdr="0" dt="0"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(tanzani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B11B86A-3463-2F78-8EFB-7554D2E57A93}"/>
              </a:ext>
            </a:extLst>
          </p:cNvPr>
          <p:cNvSpPr/>
          <p:nvPr userDrawn="1"/>
        </p:nvSpPr>
        <p:spPr>
          <a:xfrm>
            <a:off x="0" y="1"/>
            <a:ext cx="12192000" cy="6175356"/>
          </a:xfrm>
          <a:prstGeom prst="rect">
            <a:avLst/>
          </a:prstGeom>
          <a:gradFill flip="none" rotWithShape="1">
            <a:gsLst>
              <a:gs pos="0">
                <a:srgbClr val="09233B">
                  <a:lumMod val="89000"/>
                  <a:lumOff val="11000"/>
                </a:srgbClr>
              </a:gs>
              <a:gs pos="23000">
                <a:srgbClr val="09233B">
                  <a:lumMod val="89000"/>
                  <a:lumOff val="11000"/>
                </a:srgbClr>
              </a:gs>
              <a:gs pos="68000">
                <a:srgbClr val="09233B">
                  <a:lumMod val="75000"/>
                </a:srgbClr>
              </a:gs>
              <a:gs pos="96000">
                <a:srgbClr val="09233B">
                  <a:lumMod val="7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7" name="Rectangle 6"/>
          <p:cNvSpPr/>
          <p:nvPr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5912" y="-1"/>
            <a:ext cx="6086089" cy="6858001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dirty="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8E33194-8100-5044-B6B6-68F1EE1CC15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3395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38B2842-E0FD-8F9D-CF91-37A6904C178B}"/>
              </a:ext>
            </a:extLst>
          </p:cNvPr>
          <p:cNvSpPr/>
          <p:nvPr userDrawn="1"/>
        </p:nvSpPr>
        <p:spPr>
          <a:xfrm>
            <a:off x="0" y="1"/>
            <a:ext cx="12192000" cy="6175356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7" name="Rectangle 6"/>
          <p:cNvSpPr/>
          <p:nvPr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186" t="8450" r="9800" b="9292"/>
          <a:stretch/>
        </p:blipFill>
        <p:spPr>
          <a:xfrm>
            <a:off x="5747845" y="0"/>
            <a:ext cx="644415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dirty="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5895CE6-5949-7943-B822-4FED05E1CEF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1880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CC362406-1FC3-D088-8059-E3918A4272EF}"/>
              </a:ext>
            </a:extLst>
          </p:cNvPr>
          <p:cNvSpPr/>
          <p:nvPr userDrawn="1"/>
        </p:nvSpPr>
        <p:spPr>
          <a:xfrm>
            <a:off x="0" y="1"/>
            <a:ext cx="12192000" cy="6175356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89000"/>
                </a:schemeClr>
              </a:gs>
              <a:gs pos="23000">
                <a:schemeClr val="accent2">
                  <a:lumMod val="89000"/>
                </a:schemeClr>
              </a:gs>
              <a:gs pos="69000">
                <a:schemeClr val="accent2">
                  <a:lumMod val="75000"/>
                </a:schemeClr>
              </a:gs>
              <a:gs pos="97000">
                <a:schemeClr val="accent2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sp>
        <p:nvSpPr>
          <p:cNvPr id="7" name="Rectangle 6"/>
          <p:cNvSpPr/>
          <p:nvPr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dirty="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124B234D-A621-804E-BFA4-026C6CB10AF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pic>
        <p:nvPicPr>
          <p:cNvPr id="9" name="Picture 8" descr="Chart&#10;&#10;Description automatically generated">
            <a:extLst>
              <a:ext uri="{FF2B5EF4-FFF2-40B4-BE49-F238E27FC236}">
                <a16:creationId xmlns:a16="http://schemas.microsoft.com/office/drawing/2014/main" id="{241CC10C-69F7-A230-3CD8-78C57F2F9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349" b="8396"/>
          <a:stretch/>
        </p:blipFill>
        <p:spPr>
          <a:xfrm>
            <a:off x="3770489" y="2638692"/>
            <a:ext cx="8421512" cy="353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9809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1 - Glob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7C18C6BB-56EB-42DD-BFA4-B90408D11A0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70262" y="4459831"/>
            <a:ext cx="3047997" cy="1822632"/>
          </a:xfrm>
        </p:spPr>
        <p:txBody>
          <a:bodyPr lIns="91440" tIns="0" rIns="91440" bIns="0">
            <a:noAutofit/>
          </a:bodyPr>
          <a:lstStyle>
            <a:lvl1pPr marL="304792" indent="-304792" algn="l">
              <a:lnSpc>
                <a:spcPct val="100000"/>
              </a:lnSpc>
              <a:buClr>
                <a:schemeClr val="accent5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DE832C75-548A-4BFA-92B2-E47C7D5262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70262" y="3607729"/>
            <a:ext cx="3047999" cy="585279"/>
          </a:xfrm>
        </p:spPr>
        <p:txBody>
          <a:bodyPr lIns="91440" tIns="0" rIns="91440" bIns="0">
            <a:no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1867" b="1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DCDDF520-2C27-41A4-9FE2-AAFE33BD8EB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91748" y="4459831"/>
            <a:ext cx="3047997" cy="1822632"/>
          </a:xfrm>
        </p:spPr>
        <p:txBody>
          <a:bodyPr lIns="91440" tIns="0" rIns="91440" bIns="0">
            <a:noAutofit/>
          </a:bodyPr>
          <a:lstStyle>
            <a:lvl1pPr marL="304792" indent="-304792" algn="l">
              <a:lnSpc>
                <a:spcPct val="100000"/>
              </a:lnSpc>
              <a:buClr>
                <a:schemeClr val="accent5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838EB8E-262B-4F70-9114-EC5132A760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91748" y="3607729"/>
            <a:ext cx="3047999" cy="585279"/>
          </a:xfrm>
        </p:spPr>
        <p:txBody>
          <a:bodyPr lIns="91440" tIns="0" rIns="91440" bIns="0">
            <a:no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1867" b="1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0D6E0292-A306-4967-AEB4-5E0EA44FD60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13234" y="4464383"/>
            <a:ext cx="3047997" cy="1822632"/>
          </a:xfrm>
        </p:spPr>
        <p:txBody>
          <a:bodyPr lIns="91440" tIns="0" rIns="91440" bIns="0">
            <a:noAutofit/>
          </a:bodyPr>
          <a:lstStyle>
            <a:lvl1pPr marL="304792" indent="-304792" algn="l">
              <a:lnSpc>
                <a:spcPct val="100000"/>
              </a:lnSpc>
              <a:buClr>
                <a:schemeClr val="accent5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1599C74F-E38E-4CF9-987A-12C93D955B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13234" y="3612281"/>
            <a:ext cx="3047999" cy="585279"/>
          </a:xfrm>
        </p:spPr>
        <p:txBody>
          <a:bodyPr lIns="91440" tIns="0" rIns="91440" bIns="0">
            <a:no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1867" b="1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194558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(stone)">
    <p:bg>
      <p:bgPr>
        <a:gradFill flip="none" rotWithShape="1">
          <a:gsLst>
            <a:gs pos="0">
              <a:srgbClr val="FFFFFF"/>
            </a:gs>
            <a:gs pos="100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3CC8ED4-4CCA-405F-BF19-05E074E4BB5C}"/>
              </a:ext>
            </a:extLst>
          </p:cNvPr>
          <p:cNvSpPr/>
          <p:nvPr userDrawn="1"/>
        </p:nvSpPr>
        <p:spPr>
          <a:xfrm>
            <a:off x="0" y="1"/>
            <a:ext cx="12192000" cy="6175356"/>
          </a:xfrm>
          <a:prstGeom prst="rect">
            <a:avLst/>
          </a:prstGeom>
          <a:gradFill flip="none" rotWithShape="1">
            <a:gsLst>
              <a:gs pos="1000">
                <a:schemeClr val="bg1">
                  <a:lumMod val="95000"/>
                </a:schemeClr>
              </a:gs>
              <a:gs pos="23000">
                <a:schemeClr val="bg1">
                  <a:lumMod val="92000"/>
                </a:schemeClr>
              </a:gs>
              <a:gs pos="68000">
                <a:schemeClr val="bg1">
                  <a:lumMod val="90000"/>
                </a:schemeClr>
              </a:gs>
              <a:gs pos="96000">
                <a:schemeClr val="bg1">
                  <a:lumMod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05" t="18294" r="3332"/>
          <a:stretch/>
        </p:blipFill>
        <p:spPr>
          <a:xfrm>
            <a:off x="0" y="0"/>
            <a:ext cx="12192000" cy="6156347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chemeClr val="accent5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1C5E3B0-75F7-1B42-A2F1-511E202ECF6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722704"/>
      </p:ext>
    </p:extLst>
  </p:cSld>
  <p:clrMapOvr>
    <a:masterClrMapping/>
  </p:clrMapOvr>
  <p:hf hdr="0" dt="0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(tanzani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45C6871-A9E2-79A7-BC86-B7BB7F3A90C3}"/>
              </a:ext>
            </a:extLst>
          </p:cNvPr>
          <p:cNvSpPr/>
          <p:nvPr userDrawn="1"/>
        </p:nvSpPr>
        <p:spPr>
          <a:xfrm>
            <a:off x="0" y="1"/>
            <a:ext cx="12192000" cy="6175356"/>
          </a:xfrm>
          <a:prstGeom prst="rect">
            <a:avLst/>
          </a:prstGeom>
          <a:gradFill flip="none" rotWithShape="1">
            <a:gsLst>
              <a:gs pos="0">
                <a:srgbClr val="09233B">
                  <a:lumMod val="89000"/>
                  <a:lumOff val="11000"/>
                </a:srgbClr>
              </a:gs>
              <a:gs pos="23000">
                <a:srgbClr val="09233B">
                  <a:lumMod val="89000"/>
                  <a:lumOff val="11000"/>
                </a:srgbClr>
              </a:gs>
              <a:gs pos="68000">
                <a:srgbClr val="09233B">
                  <a:lumMod val="75000"/>
                </a:srgbClr>
              </a:gs>
              <a:gs pos="96000">
                <a:srgbClr val="09233B">
                  <a:lumMod val="7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4" name="Rectangle 3"/>
          <p:cNvSpPr/>
          <p:nvPr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4CAEFF0-503E-7944-8B2D-FA7DD9A71A7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64EAF3-C38E-999F-EB73-46609447CE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05" t="18294" r="3332"/>
          <a:stretch/>
        </p:blipFill>
        <p:spPr>
          <a:xfrm>
            <a:off x="0" y="0"/>
            <a:ext cx="12192000" cy="6156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90263"/>
      </p:ext>
    </p:extLst>
  </p:cSld>
  <p:clrMapOvr>
    <a:masterClrMapping/>
  </p:clrMapOvr>
  <p:hf hdr="0" dt="0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(sla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318B8DD-44E9-C0AF-1057-D4BC66B15DD8}"/>
              </a:ext>
            </a:extLst>
          </p:cNvPr>
          <p:cNvSpPr/>
          <p:nvPr userDrawn="1"/>
        </p:nvSpPr>
        <p:spPr>
          <a:xfrm>
            <a:off x="0" y="0"/>
            <a:ext cx="12192000" cy="618664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90000"/>
                </a:schemeClr>
              </a:gs>
              <a:gs pos="22000">
                <a:schemeClr val="accent1">
                  <a:lumMod val="90000"/>
                </a:schemeClr>
              </a:gs>
              <a:gs pos="69000">
                <a:schemeClr val="accent1">
                  <a:lumMod val="75000"/>
                </a:schemeClr>
              </a:gs>
              <a:gs pos="96000">
                <a:schemeClr val="tx2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4" name="Rectangle 3"/>
          <p:cNvSpPr/>
          <p:nvPr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CEECE93-96F2-5947-8A40-C80576FF021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0A39848-370D-6FB6-0C4D-EDE59658F2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05" t="18294" r="3332"/>
          <a:stretch/>
        </p:blipFill>
        <p:spPr>
          <a:xfrm>
            <a:off x="0" y="0"/>
            <a:ext cx="12192000" cy="6156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908108"/>
      </p:ext>
    </p:extLst>
  </p:cSld>
  <p:clrMapOvr>
    <a:masterClrMapping/>
  </p:clrMapOvr>
  <p:hf hdr="0" dt="0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F96DC852-3713-D91D-3C84-F22F2B642A2F}"/>
              </a:ext>
            </a:extLst>
          </p:cNvPr>
          <p:cNvSpPr/>
          <p:nvPr userDrawn="1"/>
        </p:nvSpPr>
        <p:spPr>
          <a:xfrm>
            <a:off x="0" y="1"/>
            <a:ext cx="12192000" cy="6153857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89000"/>
                </a:schemeClr>
              </a:gs>
              <a:gs pos="23000">
                <a:schemeClr val="accent2">
                  <a:lumMod val="89000"/>
                </a:schemeClr>
              </a:gs>
              <a:gs pos="69000">
                <a:schemeClr val="accent2">
                  <a:lumMod val="75000"/>
                </a:schemeClr>
              </a:gs>
              <a:gs pos="97000">
                <a:schemeClr val="accent2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68" t="18056" r="3162"/>
          <a:stretch/>
        </p:blipFill>
        <p:spPr>
          <a:xfrm>
            <a:off x="1" y="1"/>
            <a:ext cx="12192000" cy="615385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93798"/>
            <a:ext cx="9829293" cy="3140613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A1D5A82-A652-4746-A0AC-8ECDBDB7ABD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315925"/>
      </p:ext>
    </p:extLst>
  </p:cSld>
  <p:clrMapOvr>
    <a:masterClrMapping/>
  </p:clrMapOvr>
  <p:hf hdr="0" dt="0"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tanzani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5868D43-C6E2-89DB-62DC-6C5950958D8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9233B">
                  <a:lumMod val="89000"/>
                  <a:lumOff val="11000"/>
                </a:srgbClr>
              </a:gs>
              <a:gs pos="23000">
                <a:srgbClr val="09233B">
                  <a:lumMod val="89000"/>
                  <a:lumOff val="11000"/>
                </a:srgbClr>
              </a:gs>
              <a:gs pos="68000">
                <a:srgbClr val="09233B">
                  <a:lumMod val="75000"/>
                </a:srgbClr>
              </a:gs>
              <a:gs pos="96000">
                <a:srgbClr val="09233B">
                  <a:lumMod val="7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all to action goes he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8D09C3E-C416-083D-118D-24B7356D7F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1683" b="30783"/>
          <a:stretch/>
        </p:blipFill>
        <p:spPr>
          <a:xfrm>
            <a:off x="4257078" y="2168260"/>
            <a:ext cx="3677845" cy="1748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557136"/>
      </p:ext>
    </p:extLst>
  </p:cSld>
  <p:clrMapOvr>
    <a:masterClrMapping/>
  </p:clrMapOvr>
  <p:hf hdr="0" dt="0"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69A13E5-0E23-154A-46DE-D971DC9EAA8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all to action goes her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58B8535-736D-E3B1-6EF6-79509220B5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1683" b="30783"/>
          <a:stretch/>
        </p:blipFill>
        <p:spPr>
          <a:xfrm>
            <a:off x="4257078" y="2168260"/>
            <a:ext cx="3677845" cy="1748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391606"/>
      </p:ext>
    </p:extLst>
  </p:cSld>
  <p:clrMapOvr>
    <a:masterClrMapping/>
  </p:clrMapOvr>
  <p:hf hdr="0" dt="0"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stone)">
    <p:bg>
      <p:bgPr>
        <a:gradFill>
          <a:gsLst>
            <a:gs pos="46000">
              <a:srgbClr val="FFFFFF"/>
            </a:gs>
            <a:gs pos="100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BDA5570-AE98-714A-92B4-C08C5CBD2C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61053" y="-1"/>
            <a:ext cx="6330948" cy="6858001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413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="0" baseline="0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This is for a sub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206" y="5960533"/>
            <a:ext cx="2531596" cy="316011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F5F7CAD8-7FD8-6045-AFE1-401B95BE5E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2675B0B-A6BD-3D47-B7E9-AB7EC4467B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0418B2E2-088E-1D4C-947E-7AFFB58137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14355270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tanzani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E84EFDA7-8E04-FF43-AC47-D4360DC4F8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61053" y="-1"/>
            <a:ext cx="6330948" cy="6858001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201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This is for a sub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541" y="5966185"/>
            <a:ext cx="2544424" cy="317612"/>
          </a:xfrm>
          <a:prstGeom prst="rect">
            <a:avLst/>
          </a:prstGeom>
        </p:spPr>
      </p:pic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C81EAFF-6B59-444A-8347-4C73C6F202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C5FF983B-CED4-EF4C-88EE-3AA65DDD41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A8D660F7-AEBF-F84F-9AD7-170E3FD25B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85485696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1EED1FD-730F-864C-9B0D-E64885C359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61053" y="0"/>
            <a:ext cx="6330948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201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This is for a sub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2AF67AE-EF61-694B-B0B0-E29D494D193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541" y="5966185"/>
            <a:ext cx="2544424" cy="317612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AB72A3-6EB4-474D-B322-F8F326BD8E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FFCA383-5C1A-C544-B88B-81EF000894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5E3AF555-4EF4-AE48-91C1-9E64CC012D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95269554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sla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5740841-8B5D-9F49-A313-D1C999928C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61053" y="0"/>
            <a:ext cx="6330948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201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This is for a sub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0EFE64E-BBB5-C342-84B1-EF6DCAB0D9C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541" y="5966185"/>
            <a:ext cx="2544424" cy="317612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AE32D41-7FA5-4341-89AA-CC48B27214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8687027B-7413-FF44-BAF4-3AE636CCB0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DB48ED6C-C800-384E-B1CE-B6ADA5D625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9386075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2 -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8B707ED1-6807-4323-AC4D-0980B6D64050}"/>
              </a:ext>
            </a:extLst>
          </p:cNvPr>
          <p:cNvSpPr/>
          <p:nvPr userDrawn="1"/>
        </p:nvSpPr>
        <p:spPr>
          <a:xfrm>
            <a:off x="1103446" y="2248700"/>
            <a:ext cx="2968647" cy="2360600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>
              <a:spcBef>
                <a:spcPts val="800"/>
              </a:spcBef>
              <a:spcAft>
                <a:spcPts val="800"/>
              </a:spcAft>
              <a:defRPr/>
            </a:pPr>
            <a:endParaRPr lang="en-US" sz="1867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348270B-A1BA-45A3-8469-D5AA5CB91FCF}"/>
              </a:ext>
            </a:extLst>
          </p:cNvPr>
          <p:cNvSpPr/>
          <p:nvPr userDrawn="1"/>
        </p:nvSpPr>
        <p:spPr>
          <a:xfrm>
            <a:off x="8112225" y="2248700"/>
            <a:ext cx="2968647" cy="2360600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>
              <a:spcBef>
                <a:spcPts val="800"/>
              </a:spcBef>
              <a:spcAft>
                <a:spcPts val="800"/>
              </a:spcAft>
              <a:defRPr/>
            </a:pPr>
            <a:endParaRPr lang="en-US" sz="1867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9D26F64-FD24-4CE1-BB39-99E55AD3B01B}"/>
              </a:ext>
            </a:extLst>
          </p:cNvPr>
          <p:cNvSpPr/>
          <p:nvPr userDrawn="1"/>
        </p:nvSpPr>
        <p:spPr>
          <a:xfrm>
            <a:off x="4611677" y="2248700"/>
            <a:ext cx="2968647" cy="2360600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>
              <a:spcBef>
                <a:spcPts val="800"/>
              </a:spcBef>
              <a:spcAft>
                <a:spcPts val="800"/>
              </a:spcAft>
              <a:defRPr/>
            </a:pPr>
            <a:endParaRPr lang="en-US" sz="1867" dirty="0">
              <a:solidFill>
                <a:schemeClr val="bg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3871AFD-F7F8-4C4B-9685-2BE363A326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03447" y="5007377"/>
            <a:ext cx="2968645" cy="1076143"/>
          </a:xfrm>
        </p:spPr>
        <p:txBody>
          <a:bodyPr lIns="91440" tIns="0" rIns="91440" bIns="0">
            <a:no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2133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7C18C6BB-56EB-42DD-BFA4-B90408D11A0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3994" y="5007377"/>
            <a:ext cx="2968645" cy="1076143"/>
          </a:xfrm>
        </p:spPr>
        <p:txBody>
          <a:bodyPr lIns="91440" tIns="0" rIns="91440" bIns="0">
            <a:no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2133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D5990767-27A0-4273-973D-776F2723DE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04540" y="5011183"/>
            <a:ext cx="2968645" cy="1076143"/>
          </a:xfrm>
        </p:spPr>
        <p:txBody>
          <a:bodyPr lIns="91440" tIns="0" rIns="91440" bIns="0">
            <a:no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2133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396575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4B55263-0329-4A4A-8B58-4054370B80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61053" y="0"/>
            <a:ext cx="6330948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201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This is for a sub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CDD4BCB-C1A0-684F-AD5C-AFB764B0EE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541" y="5966185"/>
            <a:ext cx="2544424" cy="317612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E0009BB-3A08-BF44-BE29-14EA0B2392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198682A-8167-AE41-9310-DB53A69F88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9FD7D2-C014-D946-B37E-0EA202207D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51073373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 Only - With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>
            <a:extLst>
              <a:ext uri="{FF2B5EF4-FFF2-40B4-BE49-F238E27FC236}">
                <a16:creationId xmlns:a16="http://schemas.microsoft.com/office/drawing/2014/main" id="{8C2C5AAE-2682-45FE-8C8D-93235DF6357A}"/>
              </a:ext>
            </a:extLst>
          </p:cNvPr>
          <p:cNvSpPr/>
          <p:nvPr userDrawn="1"/>
        </p:nvSpPr>
        <p:spPr>
          <a:xfrm>
            <a:off x="0" y="1589839"/>
            <a:ext cx="12192000" cy="52681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42553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With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>
            <a:extLst>
              <a:ext uri="{FF2B5EF4-FFF2-40B4-BE49-F238E27FC236}">
                <a16:creationId xmlns:a16="http://schemas.microsoft.com/office/drawing/2014/main" id="{8C2C5AAE-2682-45FE-8C8D-93235DF6357A}"/>
              </a:ext>
            </a:extLst>
          </p:cNvPr>
          <p:cNvSpPr/>
          <p:nvPr userDrawn="1"/>
        </p:nvSpPr>
        <p:spPr>
          <a:xfrm>
            <a:off x="0" y="1247121"/>
            <a:ext cx="12192000" cy="56108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22531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Introduction -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>
            <a:extLst>
              <a:ext uri="{FF2B5EF4-FFF2-40B4-BE49-F238E27FC236}">
                <a16:creationId xmlns:a16="http://schemas.microsoft.com/office/drawing/2014/main" id="{8C2C5AAE-2682-45FE-8C8D-93235DF6357A}"/>
              </a:ext>
            </a:extLst>
          </p:cNvPr>
          <p:cNvSpPr/>
          <p:nvPr userDrawn="1"/>
        </p:nvSpPr>
        <p:spPr>
          <a:xfrm>
            <a:off x="0" y="1589839"/>
            <a:ext cx="12192000" cy="52681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1FBA6DFF-50DD-954B-B482-B10E7DE4AF0E}"/>
              </a:ext>
            </a:extLst>
          </p:cNvPr>
          <p:cNvGraphicFramePr/>
          <p:nvPr userDrawn="1"/>
        </p:nvGraphicFramePr>
        <p:xfrm>
          <a:off x="2288973" y="1754487"/>
          <a:ext cx="7404343" cy="50062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F22544A-C899-4C7F-BA7A-95D1F7ABE38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50029" y="3017875"/>
            <a:ext cx="4891944" cy="2616056"/>
          </a:xfrm>
          <a:prstGeom prst="rect">
            <a:avLst/>
          </a:prstGeom>
        </p:spPr>
      </p:pic>
      <p:sp>
        <p:nvSpPr>
          <p:cNvPr id="26" name="Picture Placeholder 28">
            <a:extLst>
              <a:ext uri="{FF2B5EF4-FFF2-40B4-BE49-F238E27FC236}">
                <a16:creationId xmlns:a16="http://schemas.microsoft.com/office/drawing/2014/main" id="{797E5387-14A3-4F1A-A184-E30B3366010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254061" y="3222192"/>
            <a:ext cx="3669099" cy="2128155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en-US"/>
          </a:p>
          <a:p>
            <a:r>
              <a:rPr lang="en-US"/>
              <a:t>Insert product </a:t>
            </a:r>
            <a:br>
              <a:rPr lang="en-US"/>
            </a:br>
            <a:r>
              <a:rPr lang="en-US"/>
              <a:t>screen sho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087426B-90F9-674C-AE81-14F36412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29627" y="4840600"/>
            <a:ext cx="2662643" cy="1614307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867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835A2B4E-55D5-FC40-A7A3-14D64BDD4E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8573" y="3809076"/>
            <a:ext cx="2662643" cy="1614307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1867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245D3D8C-388E-E046-8D0F-4A33E197CC3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36200" y="1807047"/>
            <a:ext cx="2662643" cy="1614307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867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AA99EFD-3AD7-C54D-8ACC-EA002E85767F}"/>
              </a:ext>
            </a:extLst>
          </p:cNvPr>
          <p:cNvGrpSpPr/>
          <p:nvPr userDrawn="1"/>
        </p:nvGrpSpPr>
        <p:grpSpPr>
          <a:xfrm>
            <a:off x="6962908" y="2454454"/>
            <a:ext cx="1152960" cy="204825"/>
            <a:chOff x="5428963" y="1840840"/>
            <a:chExt cx="864720" cy="153619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5E0B714F-7AC6-E447-AA1F-D0FAA54BB6B1}"/>
                </a:ext>
              </a:extLst>
            </p:cNvPr>
            <p:cNvSpPr/>
            <p:nvPr userDrawn="1"/>
          </p:nvSpPr>
          <p:spPr>
            <a:xfrm flipH="1">
              <a:off x="5428963" y="1840840"/>
              <a:ext cx="153619" cy="153619"/>
            </a:xfrm>
            <a:prstGeom prst="ellipse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B41BC063-AD38-9842-AF70-2C4BA26D98BC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5582583" y="1919040"/>
              <a:ext cx="7111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B3E1866B-A8F9-C64B-BEF7-3F89ECBE3030}"/>
              </a:ext>
            </a:extLst>
          </p:cNvPr>
          <p:cNvGrpSpPr/>
          <p:nvPr userDrawn="1"/>
        </p:nvGrpSpPr>
        <p:grpSpPr>
          <a:xfrm>
            <a:off x="7271277" y="5722025"/>
            <a:ext cx="1505751" cy="204825"/>
            <a:chOff x="5428963" y="1840840"/>
            <a:chExt cx="1129313" cy="153619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1AA9FA0-FA70-C647-855B-546D7658C263}"/>
                </a:ext>
              </a:extLst>
            </p:cNvPr>
            <p:cNvSpPr/>
            <p:nvPr userDrawn="1"/>
          </p:nvSpPr>
          <p:spPr>
            <a:xfrm flipH="1">
              <a:off x="5428963" y="1840840"/>
              <a:ext cx="153619" cy="153619"/>
            </a:xfrm>
            <a:prstGeom prst="ellipse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B2F1B7DB-F4C4-C148-A15C-A08F5C50FD4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5582583" y="1917649"/>
              <a:ext cx="975693" cy="139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7AC70CD-D337-9344-8F5F-0C458E946187}"/>
              </a:ext>
            </a:extLst>
          </p:cNvPr>
          <p:cNvGrpSpPr/>
          <p:nvPr userDrawn="1"/>
        </p:nvGrpSpPr>
        <p:grpSpPr>
          <a:xfrm flipH="1">
            <a:off x="3004751" y="4155197"/>
            <a:ext cx="926328" cy="204825"/>
            <a:chOff x="5428963" y="1840840"/>
            <a:chExt cx="694746" cy="153619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A460E58F-5F88-6643-9D8B-98F72D9B247D}"/>
                </a:ext>
              </a:extLst>
            </p:cNvPr>
            <p:cNvSpPr/>
            <p:nvPr userDrawn="1"/>
          </p:nvSpPr>
          <p:spPr>
            <a:xfrm flipH="1">
              <a:off x="5428963" y="1840840"/>
              <a:ext cx="153619" cy="153619"/>
            </a:xfrm>
            <a:prstGeom prst="ellipse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52CD8EB4-80C6-6744-B952-F20B8252A7E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5582582" y="1919040"/>
              <a:ext cx="541127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47546699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duct Introduction - Desk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>
            <a:extLst>
              <a:ext uri="{FF2B5EF4-FFF2-40B4-BE49-F238E27FC236}">
                <a16:creationId xmlns:a16="http://schemas.microsoft.com/office/drawing/2014/main" id="{8C2C5AAE-2682-45FE-8C8D-93235DF6357A}"/>
              </a:ext>
            </a:extLst>
          </p:cNvPr>
          <p:cNvSpPr/>
          <p:nvPr userDrawn="1"/>
        </p:nvSpPr>
        <p:spPr>
          <a:xfrm>
            <a:off x="0" y="1589839"/>
            <a:ext cx="12192000" cy="52681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32E2C2E9-FFC4-CF4D-B4A2-3B492B5DCF3E}"/>
              </a:ext>
            </a:extLst>
          </p:cNvPr>
          <p:cNvGraphicFramePr/>
          <p:nvPr userDrawn="1"/>
        </p:nvGraphicFramePr>
        <p:xfrm>
          <a:off x="2288973" y="1754487"/>
          <a:ext cx="7404343" cy="50062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31" name="Group 30">
            <a:extLst>
              <a:ext uri="{FF2B5EF4-FFF2-40B4-BE49-F238E27FC236}">
                <a16:creationId xmlns:a16="http://schemas.microsoft.com/office/drawing/2014/main" id="{B59F4594-3799-4FF5-A38F-6062508F84A5}"/>
              </a:ext>
            </a:extLst>
          </p:cNvPr>
          <p:cNvGrpSpPr/>
          <p:nvPr userDrawn="1"/>
        </p:nvGrpSpPr>
        <p:grpSpPr>
          <a:xfrm>
            <a:off x="3904613" y="2913616"/>
            <a:ext cx="4254395" cy="3200400"/>
            <a:chOff x="1174576" y="0"/>
            <a:chExt cx="6963289" cy="5143500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EC44F7F7-153A-4780-9AF5-5E625E0DA5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74576" y="0"/>
              <a:ext cx="6963289" cy="5143500"/>
            </a:xfrm>
            <a:prstGeom prst="rect">
              <a:avLst/>
            </a:prstGeom>
          </p:spPr>
        </p:pic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00F1FCAE-9D1C-4732-A152-191C67C73295}"/>
                </a:ext>
              </a:extLst>
            </p:cNvPr>
            <p:cNvSpPr/>
            <p:nvPr/>
          </p:nvSpPr>
          <p:spPr>
            <a:xfrm>
              <a:off x="1464006" y="320171"/>
              <a:ext cx="6366601" cy="3625427"/>
            </a:xfrm>
            <a:prstGeom prst="rect">
              <a:avLst/>
            </a:prstGeom>
            <a:noFill/>
            <a:ln w="19050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3967C445-95AA-459D-A294-2066CEB8385D}"/>
              </a:ext>
            </a:extLst>
          </p:cNvPr>
          <p:cNvSpPr/>
          <p:nvPr userDrawn="1"/>
        </p:nvSpPr>
        <p:spPr>
          <a:xfrm>
            <a:off x="4081448" y="3112834"/>
            <a:ext cx="3885693" cy="2255821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C38C7312-4EEC-FE4B-BB74-96251D75DFA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29627" y="4840600"/>
            <a:ext cx="2662643" cy="1614307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867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D4E6E63B-3605-4590-A1AB-908C50B4792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8573" y="3809076"/>
            <a:ext cx="2662643" cy="1614307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1867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FF2ACE3B-CB13-42DB-9EA4-F84E10FBA0D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36200" y="1807047"/>
            <a:ext cx="2662643" cy="1614307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867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A23DAD8-960F-40AB-9D79-D06A495C01A3}"/>
              </a:ext>
            </a:extLst>
          </p:cNvPr>
          <p:cNvGrpSpPr/>
          <p:nvPr userDrawn="1"/>
        </p:nvGrpSpPr>
        <p:grpSpPr>
          <a:xfrm>
            <a:off x="6962908" y="2454454"/>
            <a:ext cx="1152960" cy="204825"/>
            <a:chOff x="5428963" y="1840840"/>
            <a:chExt cx="864720" cy="153619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2EA2531B-185F-468F-B2E3-BB96E0DCB896}"/>
                </a:ext>
              </a:extLst>
            </p:cNvPr>
            <p:cNvSpPr/>
            <p:nvPr userDrawn="1"/>
          </p:nvSpPr>
          <p:spPr>
            <a:xfrm flipH="1">
              <a:off x="5428963" y="1840840"/>
              <a:ext cx="153619" cy="153619"/>
            </a:xfrm>
            <a:prstGeom prst="ellipse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A84DF2C5-FC0C-4E26-A351-FD1D5907EAE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5582583" y="1919040"/>
              <a:ext cx="7111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39F54F8B-1424-40C8-A032-AA79494B567A}"/>
              </a:ext>
            </a:extLst>
          </p:cNvPr>
          <p:cNvGrpSpPr/>
          <p:nvPr userDrawn="1"/>
        </p:nvGrpSpPr>
        <p:grpSpPr>
          <a:xfrm>
            <a:off x="7271277" y="5722025"/>
            <a:ext cx="1505751" cy="204825"/>
            <a:chOff x="5428963" y="1840840"/>
            <a:chExt cx="1129313" cy="153619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61FBB1AA-78A5-48EF-AF84-2FC41B598030}"/>
                </a:ext>
              </a:extLst>
            </p:cNvPr>
            <p:cNvSpPr/>
            <p:nvPr userDrawn="1"/>
          </p:nvSpPr>
          <p:spPr>
            <a:xfrm flipH="1">
              <a:off x="5428963" y="1840840"/>
              <a:ext cx="153619" cy="153619"/>
            </a:xfrm>
            <a:prstGeom prst="ellipse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3B9B3A59-DBA4-4760-957B-480BCB814EEF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5582583" y="1917649"/>
              <a:ext cx="975693" cy="139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0660D7DF-6F82-44C3-9893-3B0866468F97}"/>
              </a:ext>
            </a:extLst>
          </p:cNvPr>
          <p:cNvGrpSpPr/>
          <p:nvPr userDrawn="1"/>
        </p:nvGrpSpPr>
        <p:grpSpPr>
          <a:xfrm flipH="1">
            <a:off x="3004751" y="4155197"/>
            <a:ext cx="926328" cy="204825"/>
            <a:chOff x="5428963" y="1840840"/>
            <a:chExt cx="694746" cy="153619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F7683B7B-7FC3-4748-BA89-D9C6D1E76A7E}"/>
                </a:ext>
              </a:extLst>
            </p:cNvPr>
            <p:cNvSpPr/>
            <p:nvPr userDrawn="1"/>
          </p:nvSpPr>
          <p:spPr>
            <a:xfrm flipH="1">
              <a:off x="5428963" y="1840840"/>
              <a:ext cx="153619" cy="153619"/>
            </a:xfrm>
            <a:prstGeom prst="ellipse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B11CD2A-7637-434F-96EF-3598AD8B3BD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5582582" y="1919040"/>
              <a:ext cx="541127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Picture Placeholder 28">
            <a:extLst>
              <a:ext uri="{FF2B5EF4-FFF2-40B4-BE49-F238E27FC236}">
                <a16:creationId xmlns:a16="http://schemas.microsoft.com/office/drawing/2014/main" id="{797E5387-14A3-4F1A-A184-E30B3366010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081449" y="3112834"/>
            <a:ext cx="3889833" cy="2255821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en-US"/>
          </a:p>
          <a:p>
            <a:r>
              <a:rPr lang="en-US"/>
              <a:t>Insert product </a:t>
            </a:r>
            <a:br>
              <a:rPr lang="en-US"/>
            </a:br>
            <a:r>
              <a:rPr lang="en-US"/>
              <a:t>screen shot</a:t>
            </a:r>
          </a:p>
        </p:txBody>
      </p:sp>
    </p:spTree>
    <p:extLst>
      <p:ext uri="{BB962C8B-B14F-4D97-AF65-F5344CB8AC3E}">
        <p14:creationId xmlns:p14="http://schemas.microsoft.com/office/powerpoint/2010/main" val="12897341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ProductMessaging - Overview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86FB0D1-AACB-154E-A332-BFCFBB9779E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661" y="3092948"/>
            <a:ext cx="4421129" cy="236428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5C9E9BB-7D8D-2641-8D28-0409A19D866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9208" y="2058955"/>
            <a:ext cx="6360741" cy="3709288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9AD09DBA-FD2A-BE48-8C80-24C91B64F128}"/>
              </a:ext>
            </a:extLst>
          </p:cNvPr>
          <p:cNvSpPr>
            <a:spLocks noChangeAspect="1"/>
          </p:cNvSpPr>
          <p:nvPr userDrawn="1"/>
        </p:nvSpPr>
        <p:spPr>
          <a:xfrm>
            <a:off x="7185407" y="2263423"/>
            <a:ext cx="2046655" cy="204665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AEC39C2-6B99-E84B-BC57-A0042022A795}"/>
              </a:ext>
            </a:extLst>
          </p:cNvPr>
          <p:cNvSpPr>
            <a:spLocks noChangeAspect="1"/>
          </p:cNvSpPr>
          <p:nvPr userDrawn="1"/>
        </p:nvSpPr>
        <p:spPr>
          <a:xfrm>
            <a:off x="9523901" y="3543565"/>
            <a:ext cx="2046655" cy="204665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304C3E7-E531-914D-8B32-B449F48DB119}"/>
              </a:ext>
            </a:extLst>
          </p:cNvPr>
          <p:cNvSpPr>
            <a:spLocks noChangeAspect="1"/>
          </p:cNvSpPr>
          <p:nvPr userDrawn="1"/>
        </p:nvSpPr>
        <p:spPr>
          <a:xfrm>
            <a:off x="4492087" y="3014709"/>
            <a:ext cx="2046655" cy="204665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B4B5E34-5A69-344C-A346-962DF0AB28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4164" y="3377767"/>
            <a:ext cx="1667933" cy="617077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oint #1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3C67A568-5081-AF49-BBD3-9289B3B9DA7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74767" y="2621943"/>
            <a:ext cx="1667933" cy="617077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oint #2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4D959C6-5A5D-8040-B002-3F5FB48796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13260" y="3857011"/>
            <a:ext cx="1667933" cy="617077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oint #3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6AE2495-4CEA-FB4C-9189-6526E5188DC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120924" y="4053259"/>
            <a:ext cx="804032" cy="799208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6" name="Picture Placeholder 24">
            <a:extLst>
              <a:ext uri="{FF2B5EF4-FFF2-40B4-BE49-F238E27FC236}">
                <a16:creationId xmlns:a16="http://schemas.microsoft.com/office/drawing/2014/main" id="{B07E5F54-451A-0349-B05F-E20136792BE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795875" y="3294364"/>
            <a:ext cx="804032" cy="799208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7" name="Picture Placeholder 24">
            <a:extLst>
              <a:ext uri="{FF2B5EF4-FFF2-40B4-BE49-F238E27FC236}">
                <a16:creationId xmlns:a16="http://schemas.microsoft.com/office/drawing/2014/main" id="{045EAA4A-7952-5249-ACD8-C21CBE0FC21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0136400" y="4549515"/>
            <a:ext cx="804032" cy="799208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C1CB60AE-5136-4A4A-90E9-B6907E597CA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0292" y="3272935"/>
            <a:ext cx="3315973" cy="1923336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en-US"/>
          </a:p>
          <a:p>
            <a:r>
              <a:rPr lang="en-US"/>
              <a:t>Insert product </a:t>
            </a:r>
            <a:br>
              <a:rPr lang="en-US"/>
            </a:br>
            <a:r>
              <a:rPr lang="en-US"/>
              <a:t>screen shot</a:t>
            </a:r>
          </a:p>
        </p:txBody>
      </p:sp>
    </p:spTree>
    <p:extLst>
      <p:ext uri="{BB962C8B-B14F-4D97-AF65-F5344CB8AC3E}">
        <p14:creationId xmlns:p14="http://schemas.microsoft.com/office/powerpoint/2010/main" val="1632881530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ductMessaging - Overvie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09C30C2-6A7A-954F-87C3-69D4472B2487}"/>
              </a:ext>
            </a:extLst>
          </p:cNvPr>
          <p:cNvSpPr/>
          <p:nvPr userDrawn="1"/>
        </p:nvSpPr>
        <p:spPr>
          <a:xfrm>
            <a:off x="0" y="1589839"/>
            <a:ext cx="12192000" cy="52681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4E557B52-8BA5-6A4B-9545-6E4E10CC33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0764" y="1998379"/>
            <a:ext cx="4260920" cy="4359724"/>
          </a:xfrm>
          <a:prstGeom prst="rect">
            <a:avLst/>
          </a:prstGeom>
        </p:spPr>
      </p:pic>
      <p:sp>
        <p:nvSpPr>
          <p:cNvPr id="24" name="Picture Placeholder 24">
            <a:extLst>
              <a:ext uri="{FF2B5EF4-FFF2-40B4-BE49-F238E27FC236}">
                <a16:creationId xmlns:a16="http://schemas.microsoft.com/office/drawing/2014/main" id="{B4596CDC-DA76-4E49-98AD-AD8A8B67B67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269254" y="2149502"/>
            <a:ext cx="903943" cy="893621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8" name="Picture Placeholder 24">
            <a:extLst>
              <a:ext uri="{FF2B5EF4-FFF2-40B4-BE49-F238E27FC236}">
                <a16:creationId xmlns:a16="http://schemas.microsoft.com/office/drawing/2014/main" id="{74EC880C-707F-6641-AC8C-0BFEE11A7AF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21888" y="4913912"/>
            <a:ext cx="903943" cy="893621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30" name="Picture Placeholder 24">
            <a:extLst>
              <a:ext uri="{FF2B5EF4-FFF2-40B4-BE49-F238E27FC236}">
                <a16:creationId xmlns:a16="http://schemas.microsoft.com/office/drawing/2014/main" id="{63902912-4E5C-2D40-BAFA-2D8602B812F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99759" y="4275786"/>
            <a:ext cx="903943" cy="893621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D53A1DF5-6B8E-2347-B92B-3174FA0EF5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851685" y="1998379"/>
            <a:ext cx="3078284" cy="762551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subhead two </a:t>
            </a:r>
            <a:br>
              <a:rPr lang="en-US"/>
            </a:br>
            <a:r>
              <a:rPr lang="en-US"/>
              <a:t>line max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6CC81A44-65E8-014F-8601-0DF81478EBB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851685" y="2769433"/>
            <a:ext cx="3078284" cy="979067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0BDD3105-8C89-4B48-941C-E7682C1E78F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741100" y="4266031"/>
            <a:ext cx="3049024" cy="762551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subhead two </a:t>
            </a:r>
            <a:br>
              <a:rPr lang="en-US"/>
            </a:br>
            <a:r>
              <a:rPr lang="en-US"/>
              <a:t>line max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C38C7312-4EEC-FE4B-BB74-96251D75DFA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41100" y="5037085"/>
            <a:ext cx="3049024" cy="979067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4CA365F9-3EC0-1B4D-91E1-A2E48B923F4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06216" y="3367224"/>
            <a:ext cx="3049024" cy="762551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subhead two </a:t>
            </a:r>
            <a:br>
              <a:rPr lang="en-US"/>
            </a:br>
            <a:r>
              <a:rPr lang="en-US"/>
              <a:t>line max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209E8256-A07F-384C-A9DE-F3594952526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06216" y="4138279"/>
            <a:ext cx="3049024" cy="979067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1623FF8-7202-2B4C-BB87-06A9E10BD17F}"/>
              </a:ext>
            </a:extLst>
          </p:cNvPr>
          <p:cNvSpPr/>
          <p:nvPr userDrawn="1"/>
        </p:nvSpPr>
        <p:spPr>
          <a:xfrm>
            <a:off x="6298920" y="2379654"/>
            <a:ext cx="204825" cy="204825"/>
          </a:xfrm>
          <a:prstGeom prst="ellips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37E94B6-0343-C34C-8BD6-A7FE40070F9B}"/>
              </a:ext>
            </a:extLst>
          </p:cNvPr>
          <p:cNvCxnSpPr/>
          <p:nvPr userDrawn="1"/>
        </p:nvCxnSpPr>
        <p:spPr>
          <a:xfrm>
            <a:off x="6503745" y="2483920"/>
            <a:ext cx="109618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id="{448CDE24-EB1D-FD42-B141-4804B7C68CAD}"/>
              </a:ext>
            </a:extLst>
          </p:cNvPr>
          <p:cNvSpPr/>
          <p:nvPr userDrawn="1"/>
        </p:nvSpPr>
        <p:spPr>
          <a:xfrm>
            <a:off x="7235265" y="4496185"/>
            <a:ext cx="204825" cy="204825"/>
          </a:xfrm>
          <a:prstGeom prst="ellips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E528E26-57BA-6842-A2D2-6901061018BD}"/>
              </a:ext>
            </a:extLst>
          </p:cNvPr>
          <p:cNvCxnSpPr/>
          <p:nvPr userDrawn="1"/>
        </p:nvCxnSpPr>
        <p:spPr>
          <a:xfrm>
            <a:off x="7440090" y="4600451"/>
            <a:ext cx="109618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val 38">
            <a:extLst>
              <a:ext uri="{FF2B5EF4-FFF2-40B4-BE49-F238E27FC236}">
                <a16:creationId xmlns:a16="http://schemas.microsoft.com/office/drawing/2014/main" id="{693F1C57-015B-EE42-90D7-F371F397DC7D}"/>
              </a:ext>
            </a:extLst>
          </p:cNvPr>
          <p:cNvSpPr/>
          <p:nvPr userDrawn="1"/>
        </p:nvSpPr>
        <p:spPr>
          <a:xfrm>
            <a:off x="4153126" y="3646087"/>
            <a:ext cx="204825" cy="204825"/>
          </a:xfrm>
          <a:prstGeom prst="ellips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91DD892-F978-6C4E-BD78-BC5910FE4C7A}"/>
              </a:ext>
            </a:extLst>
          </p:cNvPr>
          <p:cNvCxnSpPr>
            <a:cxnSpLocks/>
          </p:cNvCxnSpPr>
          <p:nvPr userDrawn="1"/>
        </p:nvCxnSpPr>
        <p:spPr>
          <a:xfrm>
            <a:off x="3056941" y="3750353"/>
            <a:ext cx="109618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5B7DBF23-E4FA-794A-8556-7E066505A79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47829" y="3225007"/>
            <a:ext cx="2052895" cy="2052895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66582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ductMessaging - Overview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09C30C2-6A7A-954F-87C3-69D4472B2487}"/>
              </a:ext>
            </a:extLst>
          </p:cNvPr>
          <p:cNvSpPr/>
          <p:nvPr userDrawn="1"/>
        </p:nvSpPr>
        <p:spPr>
          <a:xfrm>
            <a:off x="0" y="1589839"/>
            <a:ext cx="12192000" cy="52681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pic>
        <p:nvPicPr>
          <p:cNvPr id="5" name="Picture 4" descr="A picture containing computer&#10;&#10;Description automatically generated">
            <a:extLst>
              <a:ext uri="{FF2B5EF4-FFF2-40B4-BE49-F238E27FC236}">
                <a16:creationId xmlns:a16="http://schemas.microsoft.com/office/drawing/2014/main" id="{29CAB140-DB0B-A544-BB44-63FB50AFD8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664889">
            <a:off x="3469984" y="1688043"/>
            <a:ext cx="5481285" cy="55381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24" name="Picture Placeholder 24">
            <a:extLst>
              <a:ext uri="{FF2B5EF4-FFF2-40B4-BE49-F238E27FC236}">
                <a16:creationId xmlns:a16="http://schemas.microsoft.com/office/drawing/2014/main" id="{B4596CDC-DA76-4E49-98AD-AD8A8B67B67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139785" y="2182142"/>
            <a:ext cx="903943" cy="893621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8" name="Picture Placeholder 24">
            <a:extLst>
              <a:ext uri="{FF2B5EF4-FFF2-40B4-BE49-F238E27FC236}">
                <a16:creationId xmlns:a16="http://schemas.microsoft.com/office/drawing/2014/main" id="{74EC880C-707F-6641-AC8C-0BFEE11A7AF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063719" y="5198283"/>
            <a:ext cx="903943" cy="893621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30" name="Picture Placeholder 24">
            <a:extLst>
              <a:ext uri="{FF2B5EF4-FFF2-40B4-BE49-F238E27FC236}">
                <a16:creationId xmlns:a16="http://schemas.microsoft.com/office/drawing/2014/main" id="{63902912-4E5C-2D40-BAFA-2D8602B812F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95834" y="5445796"/>
            <a:ext cx="903943" cy="893621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D53A1DF5-6B8E-2347-B92B-3174FA0EF5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47251" y="1866402"/>
            <a:ext cx="3078284" cy="762551"/>
          </a:xfrm>
        </p:spPr>
        <p:txBody>
          <a:bodyPr anchor="b">
            <a:noAutofit/>
          </a:bodyPr>
          <a:lstStyle>
            <a:lvl1pPr marL="0" indent="0">
              <a:buNone/>
              <a:defRPr sz="2133" b="1">
                <a:solidFill>
                  <a:srgbClr val="10CFC9"/>
                </a:solidFill>
              </a:defRPr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subhead two </a:t>
            </a:r>
            <a:br>
              <a:rPr lang="en-US"/>
            </a:br>
            <a:r>
              <a:rPr lang="en-US"/>
              <a:t>line max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6CC81A44-65E8-014F-8601-0DF81478EBB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947251" y="2637456"/>
            <a:ext cx="3078284" cy="979067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0BDD3105-8C89-4B48-941C-E7682C1E78F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01023" y="4177675"/>
            <a:ext cx="3049024" cy="762551"/>
          </a:xfrm>
        </p:spPr>
        <p:txBody>
          <a:bodyPr anchor="b">
            <a:noAutofit/>
          </a:bodyPr>
          <a:lstStyle>
            <a:lvl1pPr marL="0" indent="0">
              <a:buNone/>
              <a:defRPr sz="2133" b="1">
                <a:solidFill>
                  <a:schemeClr val="accent5"/>
                </a:solidFill>
              </a:defRPr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subhead two </a:t>
            </a:r>
            <a:br>
              <a:rPr lang="en-US"/>
            </a:br>
            <a:r>
              <a:rPr lang="en-US"/>
              <a:t>line max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C38C7312-4EEC-FE4B-BB74-96251D75DFA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01023" y="4948729"/>
            <a:ext cx="3049024" cy="979067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4CA365F9-3EC0-1B4D-91E1-A2E48B923F4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4617" y="3796399"/>
            <a:ext cx="3049024" cy="762551"/>
          </a:xfrm>
        </p:spPr>
        <p:txBody>
          <a:bodyPr anchor="b">
            <a:noAutofit/>
          </a:bodyPr>
          <a:lstStyle>
            <a:lvl1pPr marL="0" indent="0">
              <a:buNone/>
              <a:defRPr sz="2133" b="1">
                <a:solidFill>
                  <a:schemeClr val="accent2"/>
                </a:solidFill>
              </a:defRPr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subhead two </a:t>
            </a:r>
            <a:br>
              <a:rPr lang="en-US"/>
            </a:br>
            <a:r>
              <a:rPr lang="en-US"/>
              <a:t>line max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209E8256-A07F-384C-A9DE-F3594952526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617" y="4567453"/>
            <a:ext cx="3049024" cy="979067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25" name="Picture Placeholder 40">
            <a:extLst>
              <a:ext uri="{FF2B5EF4-FFF2-40B4-BE49-F238E27FC236}">
                <a16:creationId xmlns:a16="http://schemas.microsoft.com/office/drawing/2014/main" id="{D81DD822-77D1-8A44-A1AA-6E584BA2483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436340" y="3491796"/>
            <a:ext cx="2497979" cy="249797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213965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oductMessaging - Overview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09C30C2-6A7A-954F-87C3-69D4472B2487}"/>
              </a:ext>
            </a:extLst>
          </p:cNvPr>
          <p:cNvSpPr/>
          <p:nvPr userDrawn="1"/>
        </p:nvSpPr>
        <p:spPr>
          <a:xfrm>
            <a:off x="0" y="1589839"/>
            <a:ext cx="12192000" cy="52681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5452CC39-14D4-1943-B12B-2BAD576349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5812" y="1891853"/>
            <a:ext cx="12192000" cy="419192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24" name="Picture Placeholder 24">
            <a:extLst>
              <a:ext uri="{FF2B5EF4-FFF2-40B4-BE49-F238E27FC236}">
                <a16:creationId xmlns:a16="http://schemas.microsoft.com/office/drawing/2014/main" id="{B4596CDC-DA76-4E49-98AD-AD8A8B67B67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127297" y="2172548"/>
            <a:ext cx="903943" cy="893621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8" name="Picture Placeholder 24">
            <a:extLst>
              <a:ext uri="{FF2B5EF4-FFF2-40B4-BE49-F238E27FC236}">
                <a16:creationId xmlns:a16="http://schemas.microsoft.com/office/drawing/2014/main" id="{74EC880C-707F-6641-AC8C-0BFEE11A7AF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586305" y="4966660"/>
            <a:ext cx="903943" cy="893621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30" name="Picture Placeholder 24">
            <a:extLst>
              <a:ext uri="{FF2B5EF4-FFF2-40B4-BE49-F238E27FC236}">
                <a16:creationId xmlns:a16="http://schemas.microsoft.com/office/drawing/2014/main" id="{63902912-4E5C-2D40-BAFA-2D8602B812F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854969" y="3634881"/>
            <a:ext cx="903943" cy="893621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D53A1DF5-6B8E-2347-B92B-3174FA0EF5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89221" y="2173139"/>
            <a:ext cx="4602796" cy="403117"/>
          </a:xfrm>
        </p:spPr>
        <p:txBody>
          <a:bodyPr anchor="b">
            <a:noAutofit/>
          </a:bodyPr>
          <a:lstStyle>
            <a:lvl1pPr marL="0" indent="0">
              <a:buNone/>
              <a:defRPr sz="2133" b="1">
                <a:solidFill>
                  <a:schemeClr val="bg1"/>
                </a:solidFill>
              </a:defRPr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subhead one line max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6CC81A44-65E8-014F-8601-0DF81478EBB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89221" y="2584760"/>
            <a:ext cx="4602796" cy="610013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457E4774-5197-0D43-80D1-1A358D147D9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13451" y="3558151"/>
            <a:ext cx="4602796" cy="403117"/>
          </a:xfrm>
        </p:spPr>
        <p:txBody>
          <a:bodyPr anchor="b">
            <a:noAutofit/>
          </a:bodyPr>
          <a:lstStyle>
            <a:lvl1pPr marL="0" indent="0">
              <a:buNone/>
              <a:defRPr sz="2133" b="1">
                <a:solidFill>
                  <a:schemeClr val="bg1"/>
                </a:solidFill>
              </a:defRPr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subhead one line max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D636AE56-ABE4-A744-B66F-F4A6D22B5D1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13451" y="3969772"/>
            <a:ext cx="4602796" cy="610013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9A003C6D-A4EB-8F43-9A8D-33970E9BE5E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903494" y="4874887"/>
            <a:ext cx="4602796" cy="403117"/>
          </a:xfrm>
        </p:spPr>
        <p:txBody>
          <a:bodyPr anchor="b">
            <a:noAutofit/>
          </a:bodyPr>
          <a:lstStyle>
            <a:lvl1pPr marL="0" indent="0">
              <a:buNone/>
              <a:defRPr sz="2133" b="1">
                <a:solidFill>
                  <a:schemeClr val="bg1"/>
                </a:solidFill>
              </a:defRPr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subhead one line max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B91CF912-DA25-3541-A158-06F129F1BD6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903494" y="5286508"/>
            <a:ext cx="4602796" cy="610013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30421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roductMessaging - Overview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09C30C2-6A7A-954F-87C3-69D4472B2487}"/>
              </a:ext>
            </a:extLst>
          </p:cNvPr>
          <p:cNvSpPr/>
          <p:nvPr userDrawn="1"/>
        </p:nvSpPr>
        <p:spPr>
          <a:xfrm>
            <a:off x="0" y="1589839"/>
            <a:ext cx="12192000" cy="52681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pic>
        <p:nvPicPr>
          <p:cNvPr id="12" name="Picture 11" descr="A picture containing wheel&#10;&#10;Description automatically generated">
            <a:extLst>
              <a:ext uri="{FF2B5EF4-FFF2-40B4-BE49-F238E27FC236}">
                <a16:creationId xmlns:a16="http://schemas.microsoft.com/office/drawing/2014/main" id="{CE05F490-894F-D342-9999-368FB5CB29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00806" y="1539705"/>
            <a:ext cx="5466017" cy="54526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3E656AD8-1C15-1B4C-9744-F5E0C3D63CA9}"/>
              </a:ext>
            </a:extLst>
          </p:cNvPr>
          <p:cNvSpPr/>
          <p:nvPr userDrawn="1"/>
        </p:nvSpPr>
        <p:spPr>
          <a:xfrm>
            <a:off x="5216619" y="2217421"/>
            <a:ext cx="1566851" cy="156685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308FCBD0-DB3E-5B42-A1C6-8B885AEE79A2}"/>
              </a:ext>
            </a:extLst>
          </p:cNvPr>
          <p:cNvSpPr/>
          <p:nvPr userDrawn="1"/>
        </p:nvSpPr>
        <p:spPr>
          <a:xfrm>
            <a:off x="3655808" y="4155035"/>
            <a:ext cx="1083867" cy="108386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4" name="Picture Placeholder 24">
            <a:extLst>
              <a:ext uri="{FF2B5EF4-FFF2-40B4-BE49-F238E27FC236}">
                <a16:creationId xmlns:a16="http://schemas.microsoft.com/office/drawing/2014/main" id="{B4596CDC-DA76-4E49-98AD-AD8A8B67B67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614277" y="2549160"/>
            <a:ext cx="833505" cy="823989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9" name="Picture Placeholder 24">
            <a:extLst>
              <a:ext uri="{FF2B5EF4-FFF2-40B4-BE49-F238E27FC236}">
                <a16:creationId xmlns:a16="http://schemas.microsoft.com/office/drawing/2014/main" id="{23D78BA1-86AB-9346-A4C9-BBEEBB817A7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719829" y="4241476"/>
            <a:ext cx="903943" cy="893621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9D06734A-954C-B248-8E89-EFA88BC321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61714" y="1999519"/>
            <a:ext cx="3078284" cy="762551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subhead two </a:t>
            </a:r>
            <a:br>
              <a:rPr lang="en-US"/>
            </a:br>
            <a:r>
              <a:rPr lang="en-US"/>
              <a:t>line max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486E7918-DA3F-814C-A090-E975E0C72E2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1714" y="2770573"/>
            <a:ext cx="3078284" cy="979067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A2039786-B5F7-3D45-BD91-3D4D37CF8D7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26015" y="4423617"/>
            <a:ext cx="3049024" cy="762551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subhead two </a:t>
            </a:r>
            <a:br>
              <a:rPr lang="en-US"/>
            </a:br>
            <a:r>
              <a:rPr lang="en-US"/>
              <a:t>line max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C0920FED-F3D9-9445-B38A-952277CE768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26015" y="5194671"/>
            <a:ext cx="3049024" cy="979067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9737080E-85E7-FF4D-ADAB-CFFFD7D8AEF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7077" y="2782305"/>
            <a:ext cx="3049024" cy="762551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subhead two </a:t>
            </a:r>
            <a:br>
              <a:rPr lang="en-US"/>
            </a:br>
            <a:r>
              <a:rPr lang="en-US"/>
              <a:t>line max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F522FD11-3581-F741-BA1A-9AB3D7CDB80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67077" y="3553359"/>
            <a:ext cx="3049024" cy="979067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ECD52002-73CE-9746-ADC7-A0C39DDB1D3E}"/>
              </a:ext>
            </a:extLst>
          </p:cNvPr>
          <p:cNvSpPr/>
          <p:nvPr userDrawn="1"/>
        </p:nvSpPr>
        <p:spPr>
          <a:xfrm>
            <a:off x="6309021" y="4753357"/>
            <a:ext cx="1566851" cy="156685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40" name="Picture Placeholder 24">
            <a:extLst>
              <a:ext uri="{FF2B5EF4-FFF2-40B4-BE49-F238E27FC236}">
                <a16:creationId xmlns:a16="http://schemas.microsoft.com/office/drawing/2014/main" id="{D25ED9A2-0026-954D-A3AE-5566333820B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706680" y="5085096"/>
            <a:ext cx="833505" cy="823989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</p:spTree>
    <p:extLst>
      <p:ext uri="{BB962C8B-B14F-4D97-AF65-F5344CB8AC3E}">
        <p14:creationId xmlns:p14="http://schemas.microsoft.com/office/powerpoint/2010/main" val="36197299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tanzani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E84EFDA7-8E04-FF43-AC47-D4360DC4F8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0000" r="16533" b="18000"/>
          <a:stretch/>
        </p:blipFill>
        <p:spPr>
          <a:xfrm>
            <a:off x="5861053" y="-1"/>
            <a:ext cx="6330948" cy="6858001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201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3541" y="5966185"/>
            <a:ext cx="2544424" cy="317612"/>
          </a:xfrm>
          <a:prstGeom prst="rect">
            <a:avLst/>
          </a:prstGeom>
        </p:spPr>
      </p:pic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C81EAFF-6B59-444A-8347-4C73C6F202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C5FF983B-CED4-EF4C-88EE-3AA65DDD41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A8D660F7-AEBF-F84F-9AD7-170E3FD25B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8912413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3 - Cap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2" y="1785257"/>
            <a:ext cx="4608285" cy="4282587"/>
          </a:xfrm>
        </p:spPr>
        <p:txBody>
          <a:bodyPr tIns="0" bIns="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4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FBCE54C-DF38-4013-AC73-D2B4342239D1}"/>
              </a:ext>
            </a:extLst>
          </p:cNvPr>
          <p:cNvCxnSpPr>
            <a:cxnSpLocks/>
          </p:cNvCxnSpPr>
          <p:nvPr userDrawn="1"/>
        </p:nvCxnSpPr>
        <p:spPr>
          <a:xfrm>
            <a:off x="5657712" y="1785257"/>
            <a:ext cx="0" cy="4282587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691920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Messaging - KeyPoint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0E578E2-1277-404C-8C9E-F0C88D91C3B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1" y="1595968"/>
            <a:ext cx="5883492" cy="5262033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        Inser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776F7EB-C755-B74C-8C38-BBC3F5B9D7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1C31CE96-AD94-564B-A057-0E1BA8760710}"/>
              </a:ext>
            </a:extLst>
          </p:cNvPr>
          <p:cNvSpPr/>
          <p:nvPr userDrawn="1"/>
        </p:nvSpPr>
        <p:spPr>
          <a:xfrm>
            <a:off x="6950988" y="3852251"/>
            <a:ext cx="4919472" cy="8687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BBA0B10-2B25-D34C-B17D-7C40AE2053B8}"/>
              </a:ext>
            </a:extLst>
          </p:cNvPr>
          <p:cNvSpPr/>
          <p:nvPr userDrawn="1"/>
        </p:nvSpPr>
        <p:spPr>
          <a:xfrm>
            <a:off x="6950988" y="5470695"/>
            <a:ext cx="4919472" cy="8687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1346F3C-820D-934F-9EEA-7DB3F1FAD41E}"/>
              </a:ext>
            </a:extLst>
          </p:cNvPr>
          <p:cNvSpPr/>
          <p:nvPr userDrawn="1"/>
        </p:nvSpPr>
        <p:spPr>
          <a:xfrm>
            <a:off x="6942084" y="2204929"/>
            <a:ext cx="4919472" cy="8687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3F7FAD-58F9-6943-9F23-B9D41DFBDA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37451" y="2309285"/>
            <a:ext cx="4142316" cy="66463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133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81059FC7-3428-644E-9618-E058FB33954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537451" y="3954709"/>
            <a:ext cx="4142316" cy="66463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133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</a:t>
            </a:r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1C1A4662-C136-3947-B657-3F77F226E37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37451" y="5578721"/>
            <a:ext cx="4142316" cy="66463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133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227FA48-0D85-DD46-9EEB-AA9730A242DA}"/>
              </a:ext>
            </a:extLst>
          </p:cNvPr>
          <p:cNvSpPr>
            <a:spLocks noChangeAspect="1"/>
          </p:cNvSpPr>
          <p:nvPr userDrawn="1"/>
        </p:nvSpPr>
        <p:spPr>
          <a:xfrm>
            <a:off x="5883491" y="1925085"/>
            <a:ext cx="1428412" cy="142841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0CF8714-904D-FE43-AE0C-DBD3C419F184}"/>
              </a:ext>
            </a:extLst>
          </p:cNvPr>
          <p:cNvSpPr/>
          <p:nvPr userDrawn="1"/>
        </p:nvSpPr>
        <p:spPr>
          <a:xfrm>
            <a:off x="5883491" y="1925083"/>
            <a:ext cx="725305" cy="14284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54" name="Picture Placeholder 24">
            <a:extLst>
              <a:ext uri="{FF2B5EF4-FFF2-40B4-BE49-F238E27FC236}">
                <a16:creationId xmlns:a16="http://schemas.microsoft.com/office/drawing/2014/main" id="{F82BD1F6-4912-3741-A500-5B5B452B237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11919" y="2148000"/>
            <a:ext cx="975360" cy="9753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D35D1E4-DC63-2449-8FFE-C040F82063D2}"/>
              </a:ext>
            </a:extLst>
          </p:cNvPr>
          <p:cNvSpPr>
            <a:spLocks noChangeAspect="1"/>
          </p:cNvSpPr>
          <p:nvPr userDrawn="1"/>
        </p:nvSpPr>
        <p:spPr>
          <a:xfrm>
            <a:off x="5883491" y="3594290"/>
            <a:ext cx="1428412" cy="142841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B7E8AF8-32CA-B74D-A48C-0C3B54CB5ADA}"/>
              </a:ext>
            </a:extLst>
          </p:cNvPr>
          <p:cNvSpPr/>
          <p:nvPr userDrawn="1"/>
        </p:nvSpPr>
        <p:spPr>
          <a:xfrm>
            <a:off x="5883491" y="3594289"/>
            <a:ext cx="725305" cy="14284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3" name="Picture Placeholder 24">
            <a:extLst>
              <a:ext uri="{FF2B5EF4-FFF2-40B4-BE49-F238E27FC236}">
                <a16:creationId xmlns:a16="http://schemas.microsoft.com/office/drawing/2014/main" id="{A0405078-9608-7247-9EAA-DBE87B61E01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011919" y="3817205"/>
            <a:ext cx="975360" cy="9753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1BE402D4-F475-9A49-9B10-4FE872C9EF84}"/>
              </a:ext>
            </a:extLst>
          </p:cNvPr>
          <p:cNvSpPr>
            <a:spLocks noChangeAspect="1"/>
          </p:cNvSpPr>
          <p:nvPr userDrawn="1"/>
        </p:nvSpPr>
        <p:spPr>
          <a:xfrm>
            <a:off x="5883491" y="5222155"/>
            <a:ext cx="1428412" cy="142841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60AD0A9-9927-BB4B-9B8A-5E56E56EA49B}"/>
              </a:ext>
            </a:extLst>
          </p:cNvPr>
          <p:cNvSpPr/>
          <p:nvPr userDrawn="1"/>
        </p:nvSpPr>
        <p:spPr>
          <a:xfrm>
            <a:off x="5883491" y="5222154"/>
            <a:ext cx="725305" cy="14284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6" name="Picture Placeholder 24">
            <a:extLst>
              <a:ext uri="{FF2B5EF4-FFF2-40B4-BE49-F238E27FC236}">
                <a16:creationId xmlns:a16="http://schemas.microsoft.com/office/drawing/2014/main" id="{A4D91FFD-C54C-684C-9D9A-653FC09EAFA1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011919" y="5445071"/>
            <a:ext cx="975360" cy="9753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</p:spTree>
    <p:extLst>
      <p:ext uri="{BB962C8B-B14F-4D97-AF65-F5344CB8AC3E}">
        <p14:creationId xmlns:p14="http://schemas.microsoft.com/office/powerpoint/2010/main" val="38060543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Messaging - SupportPoint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0E578E2-1277-404C-8C9E-F0C88D91C3B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1" y="1595968"/>
            <a:ext cx="5883492" cy="5262033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        Inser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776F7EB-C755-B74C-8C38-BBC3F5B9D7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91346F3C-820D-934F-9EEA-7DB3F1FAD41E}"/>
              </a:ext>
            </a:extLst>
          </p:cNvPr>
          <p:cNvSpPr/>
          <p:nvPr userDrawn="1"/>
        </p:nvSpPr>
        <p:spPr>
          <a:xfrm>
            <a:off x="6942084" y="2204929"/>
            <a:ext cx="4919472" cy="8687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3F7FAD-58F9-6943-9F23-B9D41DFBDA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37451" y="2309285"/>
            <a:ext cx="4142316" cy="66463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133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227FA48-0D85-DD46-9EEB-AA9730A242DA}"/>
              </a:ext>
            </a:extLst>
          </p:cNvPr>
          <p:cNvSpPr>
            <a:spLocks noChangeAspect="1"/>
          </p:cNvSpPr>
          <p:nvPr userDrawn="1"/>
        </p:nvSpPr>
        <p:spPr>
          <a:xfrm>
            <a:off x="5883491" y="1925085"/>
            <a:ext cx="1428412" cy="142841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0CF8714-904D-FE43-AE0C-DBD3C419F184}"/>
              </a:ext>
            </a:extLst>
          </p:cNvPr>
          <p:cNvSpPr/>
          <p:nvPr userDrawn="1"/>
        </p:nvSpPr>
        <p:spPr>
          <a:xfrm>
            <a:off x="5883491" y="1925083"/>
            <a:ext cx="725305" cy="14284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54" name="Picture Placeholder 24">
            <a:extLst>
              <a:ext uri="{FF2B5EF4-FFF2-40B4-BE49-F238E27FC236}">
                <a16:creationId xmlns:a16="http://schemas.microsoft.com/office/drawing/2014/main" id="{F82BD1F6-4912-3741-A500-5B5B452B237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11919" y="2148000"/>
            <a:ext cx="975360" cy="9753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BA0E30FE-9F3E-8C4E-BFCE-4EF015B9F2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37450" y="3353495"/>
            <a:ext cx="4324105" cy="2810780"/>
          </a:xfrm>
        </p:spPr>
        <p:txBody>
          <a:bodyPr tIns="0" bIns="0">
            <a:noAutofit/>
          </a:bodyPr>
          <a:lstStyle>
            <a:lvl1pPr marL="228594" indent="-228594">
              <a:buClr>
                <a:schemeClr val="accent5"/>
              </a:buClr>
              <a:buFont typeface="Arial" charset="0"/>
              <a:buChar char="•"/>
              <a:defRPr sz="1867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417783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Messaging - KeyPoi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0E578E2-1277-404C-8C9E-F0C88D91C3B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1" y="1595968"/>
            <a:ext cx="5883492" cy="5262033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        Inser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776F7EB-C755-B74C-8C38-BBC3F5B9D7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1C31CE96-AD94-564B-A057-0E1BA8760710}"/>
              </a:ext>
            </a:extLst>
          </p:cNvPr>
          <p:cNvSpPr/>
          <p:nvPr userDrawn="1"/>
        </p:nvSpPr>
        <p:spPr>
          <a:xfrm>
            <a:off x="6950988" y="3852251"/>
            <a:ext cx="4919472" cy="8687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BBA0B10-2B25-D34C-B17D-7C40AE2053B8}"/>
              </a:ext>
            </a:extLst>
          </p:cNvPr>
          <p:cNvSpPr/>
          <p:nvPr userDrawn="1"/>
        </p:nvSpPr>
        <p:spPr>
          <a:xfrm>
            <a:off x="6950988" y="5470695"/>
            <a:ext cx="4919472" cy="8687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1346F3C-820D-934F-9EEA-7DB3F1FAD41E}"/>
              </a:ext>
            </a:extLst>
          </p:cNvPr>
          <p:cNvSpPr/>
          <p:nvPr userDrawn="1"/>
        </p:nvSpPr>
        <p:spPr>
          <a:xfrm>
            <a:off x="6942084" y="2204929"/>
            <a:ext cx="4919472" cy="8687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3F7FAD-58F9-6943-9F23-B9D41DFBDA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37451" y="2309285"/>
            <a:ext cx="4142316" cy="66463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133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81059FC7-3428-644E-9618-E058FB33954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537451" y="3954709"/>
            <a:ext cx="4142316" cy="66463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133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</a:t>
            </a:r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1C1A4662-C136-3947-B657-3F77F226E37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37451" y="5578721"/>
            <a:ext cx="4142316" cy="66463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133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227FA48-0D85-DD46-9EEB-AA9730A242DA}"/>
              </a:ext>
            </a:extLst>
          </p:cNvPr>
          <p:cNvSpPr>
            <a:spLocks noChangeAspect="1"/>
          </p:cNvSpPr>
          <p:nvPr userDrawn="1"/>
        </p:nvSpPr>
        <p:spPr>
          <a:xfrm>
            <a:off x="5883491" y="1925085"/>
            <a:ext cx="1428412" cy="142841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0CF8714-904D-FE43-AE0C-DBD3C419F184}"/>
              </a:ext>
            </a:extLst>
          </p:cNvPr>
          <p:cNvSpPr/>
          <p:nvPr userDrawn="1"/>
        </p:nvSpPr>
        <p:spPr>
          <a:xfrm>
            <a:off x="5883491" y="1925083"/>
            <a:ext cx="725305" cy="14284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54" name="Picture Placeholder 24">
            <a:extLst>
              <a:ext uri="{FF2B5EF4-FFF2-40B4-BE49-F238E27FC236}">
                <a16:creationId xmlns:a16="http://schemas.microsoft.com/office/drawing/2014/main" id="{F82BD1F6-4912-3741-A500-5B5B452B237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11919" y="2148000"/>
            <a:ext cx="975360" cy="9753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D35D1E4-DC63-2449-8FFE-C040F82063D2}"/>
              </a:ext>
            </a:extLst>
          </p:cNvPr>
          <p:cNvSpPr>
            <a:spLocks noChangeAspect="1"/>
          </p:cNvSpPr>
          <p:nvPr userDrawn="1"/>
        </p:nvSpPr>
        <p:spPr>
          <a:xfrm>
            <a:off x="5883491" y="3594290"/>
            <a:ext cx="1428412" cy="142841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B7E8AF8-32CA-B74D-A48C-0C3B54CB5ADA}"/>
              </a:ext>
            </a:extLst>
          </p:cNvPr>
          <p:cNvSpPr/>
          <p:nvPr userDrawn="1"/>
        </p:nvSpPr>
        <p:spPr>
          <a:xfrm>
            <a:off x="5883491" y="3594289"/>
            <a:ext cx="725305" cy="14284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3" name="Picture Placeholder 24">
            <a:extLst>
              <a:ext uri="{FF2B5EF4-FFF2-40B4-BE49-F238E27FC236}">
                <a16:creationId xmlns:a16="http://schemas.microsoft.com/office/drawing/2014/main" id="{A0405078-9608-7247-9EAA-DBE87B61E01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011919" y="3817205"/>
            <a:ext cx="975360" cy="9753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1BE402D4-F475-9A49-9B10-4FE872C9EF84}"/>
              </a:ext>
            </a:extLst>
          </p:cNvPr>
          <p:cNvSpPr>
            <a:spLocks noChangeAspect="1"/>
          </p:cNvSpPr>
          <p:nvPr userDrawn="1"/>
        </p:nvSpPr>
        <p:spPr>
          <a:xfrm>
            <a:off x="5883491" y="5222155"/>
            <a:ext cx="1428412" cy="142841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60AD0A9-9927-BB4B-9B8A-5E56E56EA49B}"/>
              </a:ext>
            </a:extLst>
          </p:cNvPr>
          <p:cNvSpPr/>
          <p:nvPr userDrawn="1"/>
        </p:nvSpPr>
        <p:spPr>
          <a:xfrm>
            <a:off x="5883491" y="5222154"/>
            <a:ext cx="725305" cy="14284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6" name="Picture Placeholder 24">
            <a:extLst>
              <a:ext uri="{FF2B5EF4-FFF2-40B4-BE49-F238E27FC236}">
                <a16:creationId xmlns:a16="http://schemas.microsoft.com/office/drawing/2014/main" id="{A4D91FFD-C54C-684C-9D9A-653FC09EAFA1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011919" y="5445071"/>
            <a:ext cx="975360" cy="9753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</p:spTree>
    <p:extLst>
      <p:ext uri="{BB962C8B-B14F-4D97-AF65-F5344CB8AC3E}">
        <p14:creationId xmlns:p14="http://schemas.microsoft.com/office/powerpoint/2010/main" val="403270521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Messaging - SupportPoi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0E578E2-1277-404C-8C9E-F0C88D91C3B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1" y="1595968"/>
            <a:ext cx="5883492" cy="5262033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        Inser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776F7EB-C755-B74C-8C38-BBC3F5B9D7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91346F3C-820D-934F-9EEA-7DB3F1FAD41E}"/>
              </a:ext>
            </a:extLst>
          </p:cNvPr>
          <p:cNvSpPr/>
          <p:nvPr userDrawn="1"/>
        </p:nvSpPr>
        <p:spPr>
          <a:xfrm>
            <a:off x="6942084" y="2204929"/>
            <a:ext cx="4919472" cy="8687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3F7FAD-58F9-6943-9F23-B9D41DFBDA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37451" y="2309285"/>
            <a:ext cx="4142316" cy="66463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133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227FA48-0D85-DD46-9EEB-AA9730A242DA}"/>
              </a:ext>
            </a:extLst>
          </p:cNvPr>
          <p:cNvSpPr>
            <a:spLocks noChangeAspect="1"/>
          </p:cNvSpPr>
          <p:nvPr userDrawn="1"/>
        </p:nvSpPr>
        <p:spPr>
          <a:xfrm>
            <a:off x="5883491" y="1925085"/>
            <a:ext cx="1428412" cy="142841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0CF8714-904D-FE43-AE0C-DBD3C419F184}"/>
              </a:ext>
            </a:extLst>
          </p:cNvPr>
          <p:cNvSpPr/>
          <p:nvPr userDrawn="1"/>
        </p:nvSpPr>
        <p:spPr>
          <a:xfrm>
            <a:off x="5883491" y="1925083"/>
            <a:ext cx="725305" cy="14284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54" name="Picture Placeholder 24">
            <a:extLst>
              <a:ext uri="{FF2B5EF4-FFF2-40B4-BE49-F238E27FC236}">
                <a16:creationId xmlns:a16="http://schemas.microsoft.com/office/drawing/2014/main" id="{F82BD1F6-4912-3741-A500-5B5B452B237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11919" y="2148000"/>
            <a:ext cx="975360" cy="9753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BA0E30FE-9F3E-8C4E-BFCE-4EF015B9F2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37450" y="3353495"/>
            <a:ext cx="4324105" cy="2810780"/>
          </a:xfrm>
        </p:spPr>
        <p:txBody>
          <a:bodyPr tIns="0" bIns="0">
            <a:noAutofit/>
          </a:bodyPr>
          <a:lstStyle>
            <a:lvl1pPr marL="228594" indent="-228594">
              <a:buClr>
                <a:schemeClr val="accent5"/>
              </a:buClr>
              <a:buFont typeface="Arial" charset="0"/>
              <a:buChar char="•"/>
              <a:defRPr sz="1867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1372775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Messaging - KeyPoin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0E578E2-1277-404C-8C9E-F0C88D91C3B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1" y="1595968"/>
            <a:ext cx="5883492" cy="5262033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        Inser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776F7EB-C755-B74C-8C38-BBC3F5B9D7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1C31CE96-AD94-564B-A057-0E1BA8760710}"/>
              </a:ext>
            </a:extLst>
          </p:cNvPr>
          <p:cNvSpPr/>
          <p:nvPr userDrawn="1"/>
        </p:nvSpPr>
        <p:spPr>
          <a:xfrm>
            <a:off x="6950988" y="3852251"/>
            <a:ext cx="4919472" cy="8687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BBA0B10-2B25-D34C-B17D-7C40AE2053B8}"/>
              </a:ext>
            </a:extLst>
          </p:cNvPr>
          <p:cNvSpPr/>
          <p:nvPr userDrawn="1"/>
        </p:nvSpPr>
        <p:spPr>
          <a:xfrm>
            <a:off x="6950988" y="5470695"/>
            <a:ext cx="4919472" cy="8687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1346F3C-820D-934F-9EEA-7DB3F1FAD41E}"/>
              </a:ext>
            </a:extLst>
          </p:cNvPr>
          <p:cNvSpPr/>
          <p:nvPr userDrawn="1"/>
        </p:nvSpPr>
        <p:spPr>
          <a:xfrm>
            <a:off x="6942084" y="2204929"/>
            <a:ext cx="4919472" cy="8687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3F7FAD-58F9-6943-9F23-B9D41DFBDA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37451" y="2309285"/>
            <a:ext cx="4142316" cy="66463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133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81059FC7-3428-644E-9618-E058FB33954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537451" y="3954709"/>
            <a:ext cx="4142316" cy="66463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133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</a:t>
            </a:r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1C1A4662-C136-3947-B657-3F77F226E37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37451" y="5578721"/>
            <a:ext cx="4142316" cy="66463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133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227FA48-0D85-DD46-9EEB-AA9730A242DA}"/>
              </a:ext>
            </a:extLst>
          </p:cNvPr>
          <p:cNvSpPr>
            <a:spLocks noChangeAspect="1"/>
          </p:cNvSpPr>
          <p:nvPr userDrawn="1"/>
        </p:nvSpPr>
        <p:spPr>
          <a:xfrm>
            <a:off x="5883491" y="1925085"/>
            <a:ext cx="1428412" cy="14284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0CF8714-904D-FE43-AE0C-DBD3C419F184}"/>
              </a:ext>
            </a:extLst>
          </p:cNvPr>
          <p:cNvSpPr/>
          <p:nvPr userDrawn="1"/>
        </p:nvSpPr>
        <p:spPr>
          <a:xfrm>
            <a:off x="5883491" y="1925083"/>
            <a:ext cx="725305" cy="14284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54" name="Picture Placeholder 24">
            <a:extLst>
              <a:ext uri="{FF2B5EF4-FFF2-40B4-BE49-F238E27FC236}">
                <a16:creationId xmlns:a16="http://schemas.microsoft.com/office/drawing/2014/main" id="{F82BD1F6-4912-3741-A500-5B5B452B237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11919" y="2148000"/>
            <a:ext cx="975360" cy="9753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D35D1E4-DC63-2449-8FFE-C040F82063D2}"/>
              </a:ext>
            </a:extLst>
          </p:cNvPr>
          <p:cNvSpPr>
            <a:spLocks noChangeAspect="1"/>
          </p:cNvSpPr>
          <p:nvPr userDrawn="1"/>
        </p:nvSpPr>
        <p:spPr>
          <a:xfrm>
            <a:off x="5883491" y="3594290"/>
            <a:ext cx="1428412" cy="14284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B7E8AF8-32CA-B74D-A48C-0C3B54CB5ADA}"/>
              </a:ext>
            </a:extLst>
          </p:cNvPr>
          <p:cNvSpPr/>
          <p:nvPr userDrawn="1"/>
        </p:nvSpPr>
        <p:spPr>
          <a:xfrm>
            <a:off x="5883491" y="3594289"/>
            <a:ext cx="725305" cy="14284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3" name="Picture Placeholder 24">
            <a:extLst>
              <a:ext uri="{FF2B5EF4-FFF2-40B4-BE49-F238E27FC236}">
                <a16:creationId xmlns:a16="http://schemas.microsoft.com/office/drawing/2014/main" id="{A0405078-9608-7247-9EAA-DBE87B61E01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011919" y="3817205"/>
            <a:ext cx="975360" cy="9753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1BE402D4-F475-9A49-9B10-4FE872C9EF84}"/>
              </a:ext>
            </a:extLst>
          </p:cNvPr>
          <p:cNvSpPr>
            <a:spLocks noChangeAspect="1"/>
          </p:cNvSpPr>
          <p:nvPr userDrawn="1"/>
        </p:nvSpPr>
        <p:spPr>
          <a:xfrm>
            <a:off x="5883491" y="5222155"/>
            <a:ext cx="1428412" cy="14284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60AD0A9-9927-BB4B-9B8A-5E56E56EA49B}"/>
              </a:ext>
            </a:extLst>
          </p:cNvPr>
          <p:cNvSpPr/>
          <p:nvPr userDrawn="1"/>
        </p:nvSpPr>
        <p:spPr>
          <a:xfrm>
            <a:off x="5883491" y="5222154"/>
            <a:ext cx="725305" cy="14284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6" name="Picture Placeholder 24">
            <a:extLst>
              <a:ext uri="{FF2B5EF4-FFF2-40B4-BE49-F238E27FC236}">
                <a16:creationId xmlns:a16="http://schemas.microsoft.com/office/drawing/2014/main" id="{A4D91FFD-C54C-684C-9D9A-653FC09EAFA1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011919" y="5445071"/>
            <a:ext cx="975360" cy="9753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</p:spTree>
    <p:extLst>
      <p:ext uri="{BB962C8B-B14F-4D97-AF65-F5344CB8AC3E}">
        <p14:creationId xmlns:p14="http://schemas.microsoft.com/office/powerpoint/2010/main" val="3614658155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Messaging - SupportPoin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0E578E2-1277-404C-8C9E-F0C88D91C3B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1" y="1595968"/>
            <a:ext cx="5883492" cy="5262033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        Inser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776F7EB-C755-B74C-8C38-BBC3F5B9D7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91346F3C-820D-934F-9EEA-7DB3F1FAD41E}"/>
              </a:ext>
            </a:extLst>
          </p:cNvPr>
          <p:cNvSpPr/>
          <p:nvPr userDrawn="1"/>
        </p:nvSpPr>
        <p:spPr>
          <a:xfrm>
            <a:off x="6942084" y="2204929"/>
            <a:ext cx="4919472" cy="8687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3F7FAD-58F9-6943-9F23-B9D41DFBDA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37451" y="2309285"/>
            <a:ext cx="4142316" cy="66463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133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227FA48-0D85-DD46-9EEB-AA9730A242DA}"/>
              </a:ext>
            </a:extLst>
          </p:cNvPr>
          <p:cNvSpPr>
            <a:spLocks noChangeAspect="1"/>
          </p:cNvSpPr>
          <p:nvPr userDrawn="1"/>
        </p:nvSpPr>
        <p:spPr>
          <a:xfrm>
            <a:off x="5883491" y="1925085"/>
            <a:ext cx="1428412" cy="14284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0CF8714-904D-FE43-AE0C-DBD3C419F184}"/>
              </a:ext>
            </a:extLst>
          </p:cNvPr>
          <p:cNvSpPr/>
          <p:nvPr userDrawn="1"/>
        </p:nvSpPr>
        <p:spPr>
          <a:xfrm>
            <a:off x="5883491" y="1925083"/>
            <a:ext cx="725305" cy="14284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54" name="Picture Placeholder 24">
            <a:extLst>
              <a:ext uri="{FF2B5EF4-FFF2-40B4-BE49-F238E27FC236}">
                <a16:creationId xmlns:a16="http://schemas.microsoft.com/office/drawing/2014/main" id="{F82BD1F6-4912-3741-A500-5B5B452B237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11919" y="2148000"/>
            <a:ext cx="975360" cy="9753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BA0E30FE-9F3E-8C4E-BFCE-4EF015B9F2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37450" y="3353495"/>
            <a:ext cx="4324105" cy="2810780"/>
          </a:xfrm>
        </p:spPr>
        <p:txBody>
          <a:bodyPr tIns="0" bIns="0">
            <a:noAutofit/>
          </a:bodyPr>
          <a:lstStyle>
            <a:lvl1pPr marL="228594" indent="-228594">
              <a:buClr>
                <a:schemeClr val="accent5"/>
              </a:buClr>
              <a:buFont typeface="Arial" charset="0"/>
              <a:buChar char="•"/>
              <a:defRPr sz="1867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084782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bility Detail - Left Text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6918" y="1934181"/>
            <a:ext cx="4608285" cy="4142761"/>
          </a:xfrm>
          <a:solidFill>
            <a:srgbClr val="F2F2F2"/>
          </a:solidFill>
        </p:spPr>
        <p:txBody>
          <a:bodyPr lIns="45720" tIns="45720" rIns="45720" bIns="4572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4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F2855A6-17C4-42CE-AFBB-E37FAFDF93E3}"/>
              </a:ext>
            </a:extLst>
          </p:cNvPr>
          <p:cNvSpPr/>
          <p:nvPr userDrawn="1"/>
        </p:nvSpPr>
        <p:spPr>
          <a:xfrm>
            <a:off x="660402" y="1776150"/>
            <a:ext cx="4601153" cy="148931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23ABDEF-57C5-4F31-9450-0141394E4E57}"/>
              </a:ext>
            </a:extLst>
          </p:cNvPr>
          <p:cNvSpPr>
            <a:spLocks noChangeAspect="1"/>
          </p:cNvSpPr>
          <p:nvPr userDrawn="1"/>
        </p:nvSpPr>
        <p:spPr>
          <a:xfrm>
            <a:off x="5190084" y="1776152"/>
            <a:ext cx="151173" cy="148064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47458380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bility Detail - Right Text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76968" y="1934181"/>
            <a:ext cx="4608285" cy="4142761"/>
          </a:xfrm>
          <a:solidFill>
            <a:srgbClr val="F2F2F2"/>
          </a:solidFill>
        </p:spPr>
        <p:txBody>
          <a:bodyPr lIns="45720" tIns="45720" rIns="45720" bIns="4572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4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ABB86BE-66FE-4840-B3CD-34AA2C5EEB57}"/>
              </a:ext>
            </a:extLst>
          </p:cNvPr>
          <p:cNvSpPr/>
          <p:nvPr userDrawn="1"/>
        </p:nvSpPr>
        <p:spPr>
          <a:xfrm>
            <a:off x="6880453" y="1776150"/>
            <a:ext cx="4601153" cy="148931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6F71873-9589-4F2F-BC47-C64909B5906B}"/>
              </a:ext>
            </a:extLst>
          </p:cNvPr>
          <p:cNvSpPr>
            <a:spLocks noChangeAspect="1"/>
          </p:cNvSpPr>
          <p:nvPr userDrawn="1"/>
        </p:nvSpPr>
        <p:spPr>
          <a:xfrm>
            <a:off x="11410135" y="1776152"/>
            <a:ext cx="151173" cy="148064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18142066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bility Detail - Left Tex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6918" y="1934181"/>
            <a:ext cx="4608285" cy="4142761"/>
          </a:xfrm>
          <a:solidFill>
            <a:srgbClr val="F2F2F2"/>
          </a:solidFill>
        </p:spPr>
        <p:txBody>
          <a:bodyPr lIns="45720" tIns="45720" rIns="45720" bIns="4572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4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1DC9A65-CFF4-4E8F-974D-2337F1D235AE}"/>
              </a:ext>
            </a:extLst>
          </p:cNvPr>
          <p:cNvSpPr/>
          <p:nvPr userDrawn="1"/>
        </p:nvSpPr>
        <p:spPr>
          <a:xfrm>
            <a:off x="660402" y="1776150"/>
            <a:ext cx="4601153" cy="14893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13B4FE2-5714-48C4-AD7E-572B3E341B3F}"/>
              </a:ext>
            </a:extLst>
          </p:cNvPr>
          <p:cNvSpPr>
            <a:spLocks noChangeAspect="1"/>
          </p:cNvSpPr>
          <p:nvPr userDrawn="1"/>
        </p:nvSpPr>
        <p:spPr>
          <a:xfrm>
            <a:off x="5190084" y="1776152"/>
            <a:ext cx="151173" cy="148064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26850983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bility Detail - Right Tex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76968" y="1934181"/>
            <a:ext cx="4608285" cy="4142761"/>
          </a:xfrm>
          <a:solidFill>
            <a:srgbClr val="F2F2F2"/>
          </a:solidFill>
        </p:spPr>
        <p:txBody>
          <a:bodyPr lIns="45720" tIns="45720" rIns="45720" bIns="4572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4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85CFE89-8C76-43D4-B9EE-8A7A3BCF2DB9}"/>
              </a:ext>
            </a:extLst>
          </p:cNvPr>
          <p:cNvSpPr/>
          <p:nvPr userDrawn="1"/>
        </p:nvSpPr>
        <p:spPr>
          <a:xfrm>
            <a:off x="6880453" y="1776150"/>
            <a:ext cx="4601153" cy="14893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7495D91-D7B3-4513-AE6C-991C2373EB0C}"/>
              </a:ext>
            </a:extLst>
          </p:cNvPr>
          <p:cNvSpPr>
            <a:spLocks noChangeAspect="1"/>
          </p:cNvSpPr>
          <p:nvPr userDrawn="1"/>
        </p:nvSpPr>
        <p:spPr>
          <a:xfrm>
            <a:off x="11410135" y="1776152"/>
            <a:ext cx="151173" cy="148064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6062631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3 - Capability w value pr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2" y="1785257"/>
            <a:ext cx="4608285" cy="2714556"/>
          </a:xfrm>
        </p:spPr>
        <p:txBody>
          <a:bodyPr tIns="0" bIns="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4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FBCE54C-DF38-4013-AC73-D2B4342239D1}"/>
              </a:ext>
            </a:extLst>
          </p:cNvPr>
          <p:cNvCxnSpPr>
            <a:cxnSpLocks/>
          </p:cNvCxnSpPr>
          <p:nvPr userDrawn="1"/>
        </p:nvCxnSpPr>
        <p:spPr>
          <a:xfrm>
            <a:off x="5657712" y="1785257"/>
            <a:ext cx="0" cy="4282587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26543A2A-FE5B-469C-AACF-EBD53148FE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2392" y="4824696"/>
            <a:ext cx="4608285" cy="1091632"/>
          </a:xfrm>
        </p:spPr>
        <p:txBody>
          <a:bodyPr tIns="0" bIns="0">
            <a:norm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1867">
                <a:solidFill>
                  <a:schemeClr val="accent5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273186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bility Detail - Left Tex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6918" y="1934181"/>
            <a:ext cx="4608285" cy="4142761"/>
          </a:xfrm>
          <a:solidFill>
            <a:srgbClr val="F2F2F2"/>
          </a:solidFill>
        </p:spPr>
        <p:txBody>
          <a:bodyPr lIns="45720" tIns="45720" rIns="45720" bIns="4572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4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704606F-BD47-4DE1-A3EB-1F8514305361}"/>
              </a:ext>
            </a:extLst>
          </p:cNvPr>
          <p:cNvSpPr/>
          <p:nvPr userDrawn="1"/>
        </p:nvSpPr>
        <p:spPr>
          <a:xfrm>
            <a:off x="660402" y="1776150"/>
            <a:ext cx="4601153" cy="148931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BD4A89F-F88E-49FA-B6C9-78D7A7451E10}"/>
              </a:ext>
            </a:extLst>
          </p:cNvPr>
          <p:cNvSpPr>
            <a:spLocks noChangeAspect="1"/>
          </p:cNvSpPr>
          <p:nvPr userDrawn="1"/>
        </p:nvSpPr>
        <p:spPr>
          <a:xfrm>
            <a:off x="5190084" y="1776152"/>
            <a:ext cx="151173" cy="148064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411195744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bility Detail - Right Tex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76968" y="1934181"/>
            <a:ext cx="4608285" cy="4142761"/>
          </a:xfrm>
          <a:solidFill>
            <a:srgbClr val="F2F2F2"/>
          </a:solidFill>
        </p:spPr>
        <p:txBody>
          <a:bodyPr lIns="45720" tIns="45720" rIns="45720" bIns="4572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4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8F05EE-0EA8-4F8F-A3E9-BC03F9A03CBF}"/>
              </a:ext>
            </a:extLst>
          </p:cNvPr>
          <p:cNvSpPr/>
          <p:nvPr userDrawn="1"/>
        </p:nvSpPr>
        <p:spPr>
          <a:xfrm>
            <a:off x="6880453" y="1776150"/>
            <a:ext cx="4601153" cy="148931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A941E17-979C-45AA-8551-CD0116367FF4}"/>
              </a:ext>
            </a:extLst>
          </p:cNvPr>
          <p:cNvSpPr>
            <a:spLocks noChangeAspect="1"/>
          </p:cNvSpPr>
          <p:nvPr userDrawn="1"/>
        </p:nvSpPr>
        <p:spPr>
          <a:xfrm>
            <a:off x="11410135" y="1776152"/>
            <a:ext cx="151173" cy="148064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018957153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Bullets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5164" y="1802940"/>
            <a:ext cx="5500089" cy="4274003"/>
          </a:xfrm>
          <a:solidFill>
            <a:srgbClr val="F2F2F2"/>
          </a:solidFill>
        </p:spPr>
        <p:txBody>
          <a:bodyPr lIns="91440" tIns="91440" rIns="91440" bIns="9144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600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4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67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3965530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Bullets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2393" y="1802940"/>
            <a:ext cx="5500089" cy="4274003"/>
          </a:xfrm>
          <a:solidFill>
            <a:srgbClr val="F2F2F2"/>
          </a:solidFill>
        </p:spPr>
        <p:txBody>
          <a:bodyPr lIns="91440" tIns="91440" rIns="91440" bIns="9144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600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4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67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9317363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bility Detail -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4341" y="2105815"/>
            <a:ext cx="3513160" cy="3975908"/>
          </a:xfrm>
          <a:solidFill>
            <a:srgbClr val="F2F2F2"/>
          </a:solidFill>
        </p:spPr>
        <p:txBody>
          <a:bodyPr lIns="45720" tIns="45720" rIns="45720" bIns="4572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4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A6AEA520-DE91-4DEF-AFE7-8C4BC21D34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42139" y="2105815"/>
            <a:ext cx="3513160" cy="3975908"/>
          </a:xfrm>
          <a:solidFill>
            <a:srgbClr val="F2F2F2"/>
          </a:solidFill>
        </p:spPr>
        <p:txBody>
          <a:bodyPr lIns="45720" tIns="45720" rIns="45720" bIns="4572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4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7D123C6-CC28-46A8-95AA-CAA723CA41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19936" y="2105815"/>
            <a:ext cx="3513160" cy="3975908"/>
          </a:xfrm>
          <a:solidFill>
            <a:srgbClr val="F2F2F2"/>
          </a:solidFill>
        </p:spPr>
        <p:txBody>
          <a:bodyPr lIns="45720" tIns="45720" rIns="45720" bIns="4572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4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51A9B7A3-3D5A-4D48-8167-D80EDD0FD8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7827" y="1780932"/>
            <a:ext cx="3509675" cy="324883"/>
          </a:xfr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tIns="0" bIns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25D94D0D-783A-40B1-B4C6-FFD2D71F96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45624" y="1780932"/>
            <a:ext cx="3509675" cy="32488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tIns="0" bIns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BB60DCE-84A8-416E-BDAC-416C89A9BA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21679" y="1780932"/>
            <a:ext cx="3509675" cy="324883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tIns="0" bIns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73619418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at's New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A364193-3014-4D40-B6EA-49FDB1B851F1}"/>
              </a:ext>
            </a:extLst>
          </p:cNvPr>
          <p:cNvSpPr txBox="1">
            <a:spLocks/>
          </p:cNvSpPr>
          <p:nvPr userDrawn="1"/>
        </p:nvSpPr>
        <p:spPr>
          <a:xfrm>
            <a:off x="361176" y="1362144"/>
            <a:ext cx="1808729" cy="2119149"/>
          </a:xfrm>
          <a:prstGeom prst="rect">
            <a:avLst/>
          </a:prstGeom>
          <a:solidFill>
            <a:srgbClr val="F2F2F2"/>
          </a:solidFill>
        </p:spPr>
        <p:txBody>
          <a:bodyPr lIns="60960" tIns="60960" rIns="60960" bIns="60960">
            <a:normAutofit/>
          </a:bodyPr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1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0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67"/>
          </a:p>
        </p:txBody>
      </p:sp>
      <p:sp>
        <p:nvSpPr>
          <p:cNvPr id="64" name="Title 1">
            <a:extLst>
              <a:ext uri="{FF2B5EF4-FFF2-40B4-BE49-F238E27FC236}">
                <a16:creationId xmlns:a16="http://schemas.microsoft.com/office/drawing/2014/main" id="{F7B357C0-8058-4AB4-9629-819FB6E69D8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6" name="Text Placeholder 5">
            <a:extLst>
              <a:ext uri="{FF2B5EF4-FFF2-40B4-BE49-F238E27FC236}">
                <a16:creationId xmlns:a16="http://schemas.microsoft.com/office/drawing/2014/main" id="{4C6EE9B6-5A75-486E-9829-98DCB78E0CFB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52717" y="1412565"/>
            <a:ext cx="1808728" cy="284693"/>
          </a:xfrm>
          <a:noFill/>
        </p:spPr>
        <p:txBody>
          <a:bodyPr lIns="9144" tIns="45720" rIns="9144" bIns="45720">
            <a:spAutoFit/>
          </a:bodyPr>
          <a:lstStyle>
            <a:lvl1pPr marL="0" indent="0" algn="ctr">
              <a:lnSpc>
                <a:spcPts val="1467"/>
              </a:lnSpc>
              <a:buClr>
                <a:schemeClr val="accent5"/>
              </a:buClr>
              <a:buFont typeface="Arial" charset="0"/>
              <a:buNone/>
              <a:defRPr sz="1333" b="1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8" name="Picture Placeholder 24">
            <a:extLst>
              <a:ext uri="{FF2B5EF4-FFF2-40B4-BE49-F238E27FC236}">
                <a16:creationId xmlns:a16="http://schemas.microsoft.com/office/drawing/2014/main" id="{9CF9821A-81D2-495C-9B53-DBEFE4A9F3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24433" y="2125727"/>
            <a:ext cx="1065296" cy="105890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69" name="Text Placeholder 5">
            <a:extLst>
              <a:ext uri="{FF2B5EF4-FFF2-40B4-BE49-F238E27FC236}">
                <a16:creationId xmlns:a16="http://schemas.microsoft.com/office/drawing/2014/main" id="{F5899F8D-4A01-4073-B89F-253425737C22}"/>
              </a:ext>
            </a:extLst>
          </p:cNvPr>
          <p:cNvSpPr txBox="1">
            <a:spLocks/>
          </p:cNvSpPr>
          <p:nvPr userDrawn="1"/>
        </p:nvSpPr>
        <p:spPr>
          <a:xfrm>
            <a:off x="2295548" y="1362144"/>
            <a:ext cx="1808729" cy="2119149"/>
          </a:xfrm>
          <a:prstGeom prst="rect">
            <a:avLst/>
          </a:prstGeom>
          <a:solidFill>
            <a:srgbClr val="F2F2F2"/>
          </a:solidFill>
        </p:spPr>
        <p:txBody>
          <a:bodyPr lIns="60960" tIns="60960" rIns="60960" bIns="60960">
            <a:normAutofit/>
          </a:bodyPr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1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0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67"/>
          </a:p>
        </p:txBody>
      </p:sp>
      <p:sp>
        <p:nvSpPr>
          <p:cNvPr id="70" name="Text Placeholder 5">
            <a:extLst>
              <a:ext uri="{FF2B5EF4-FFF2-40B4-BE49-F238E27FC236}">
                <a16:creationId xmlns:a16="http://schemas.microsoft.com/office/drawing/2014/main" id="{9A989785-0232-4F83-B74B-221D71271F7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87089" y="1412565"/>
            <a:ext cx="1808728" cy="284693"/>
          </a:xfrm>
          <a:noFill/>
        </p:spPr>
        <p:txBody>
          <a:bodyPr lIns="9144" tIns="45720" rIns="9144" bIns="45720">
            <a:spAutoFit/>
          </a:bodyPr>
          <a:lstStyle>
            <a:lvl1pPr marL="0" indent="0" algn="ctr">
              <a:lnSpc>
                <a:spcPts val="1467"/>
              </a:lnSpc>
              <a:buClr>
                <a:schemeClr val="accent5"/>
              </a:buClr>
              <a:buFont typeface="Arial" charset="0"/>
              <a:buNone/>
              <a:defRPr sz="1333" b="1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71" name="Picture Placeholder 24">
            <a:extLst>
              <a:ext uri="{FF2B5EF4-FFF2-40B4-BE49-F238E27FC236}">
                <a16:creationId xmlns:a16="http://schemas.microsoft.com/office/drawing/2014/main" id="{DB7B4CE9-68E8-49D6-BF4F-C9ECF4B5BCA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658805" y="2125727"/>
            <a:ext cx="1065296" cy="105890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72" name="Text Placeholder 5">
            <a:extLst>
              <a:ext uri="{FF2B5EF4-FFF2-40B4-BE49-F238E27FC236}">
                <a16:creationId xmlns:a16="http://schemas.microsoft.com/office/drawing/2014/main" id="{003A649B-39EE-4964-BE53-DBC573C93192}"/>
              </a:ext>
            </a:extLst>
          </p:cNvPr>
          <p:cNvSpPr txBox="1">
            <a:spLocks/>
          </p:cNvSpPr>
          <p:nvPr userDrawn="1"/>
        </p:nvSpPr>
        <p:spPr>
          <a:xfrm>
            <a:off x="4229920" y="1362144"/>
            <a:ext cx="1808729" cy="2119149"/>
          </a:xfrm>
          <a:prstGeom prst="rect">
            <a:avLst/>
          </a:prstGeom>
          <a:solidFill>
            <a:srgbClr val="F2F2F2"/>
          </a:solidFill>
        </p:spPr>
        <p:txBody>
          <a:bodyPr lIns="60960" tIns="60960" rIns="60960" bIns="60960">
            <a:normAutofit/>
          </a:bodyPr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1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0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67"/>
          </a:p>
        </p:txBody>
      </p:sp>
      <p:sp>
        <p:nvSpPr>
          <p:cNvPr id="73" name="Text Placeholder 5">
            <a:extLst>
              <a:ext uri="{FF2B5EF4-FFF2-40B4-BE49-F238E27FC236}">
                <a16:creationId xmlns:a16="http://schemas.microsoft.com/office/drawing/2014/main" id="{B6730752-7292-4B68-A5CE-168D081355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21461" y="1412565"/>
            <a:ext cx="1808728" cy="284693"/>
          </a:xfrm>
          <a:noFill/>
        </p:spPr>
        <p:txBody>
          <a:bodyPr lIns="9144" tIns="45720" rIns="9144" bIns="45720">
            <a:spAutoFit/>
          </a:bodyPr>
          <a:lstStyle>
            <a:lvl1pPr marL="0" indent="0" algn="ctr">
              <a:lnSpc>
                <a:spcPts val="1467"/>
              </a:lnSpc>
              <a:buClr>
                <a:schemeClr val="accent5"/>
              </a:buClr>
              <a:buFont typeface="Arial" charset="0"/>
              <a:buNone/>
              <a:defRPr sz="1333" b="1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74" name="Picture Placeholder 24">
            <a:extLst>
              <a:ext uri="{FF2B5EF4-FFF2-40B4-BE49-F238E27FC236}">
                <a16:creationId xmlns:a16="http://schemas.microsoft.com/office/drawing/2014/main" id="{6ECDC4AB-3D19-4D2D-9EC6-294B2462832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93177" y="2125727"/>
            <a:ext cx="1065296" cy="105890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75" name="Text Placeholder 5">
            <a:extLst>
              <a:ext uri="{FF2B5EF4-FFF2-40B4-BE49-F238E27FC236}">
                <a16:creationId xmlns:a16="http://schemas.microsoft.com/office/drawing/2014/main" id="{38F6D6C1-273A-4AE6-94D3-28C6340B72B4}"/>
              </a:ext>
            </a:extLst>
          </p:cNvPr>
          <p:cNvSpPr txBox="1">
            <a:spLocks/>
          </p:cNvSpPr>
          <p:nvPr userDrawn="1"/>
        </p:nvSpPr>
        <p:spPr>
          <a:xfrm>
            <a:off x="6164292" y="1362144"/>
            <a:ext cx="1808729" cy="2119149"/>
          </a:xfrm>
          <a:prstGeom prst="rect">
            <a:avLst/>
          </a:prstGeom>
          <a:solidFill>
            <a:srgbClr val="F2F2F2"/>
          </a:solidFill>
        </p:spPr>
        <p:txBody>
          <a:bodyPr lIns="60960" tIns="60960" rIns="60960" bIns="60960">
            <a:normAutofit/>
          </a:bodyPr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1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0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67"/>
          </a:p>
        </p:txBody>
      </p:sp>
      <p:sp>
        <p:nvSpPr>
          <p:cNvPr id="76" name="Text Placeholder 5">
            <a:extLst>
              <a:ext uri="{FF2B5EF4-FFF2-40B4-BE49-F238E27FC236}">
                <a16:creationId xmlns:a16="http://schemas.microsoft.com/office/drawing/2014/main" id="{D3A6B2B2-FC7F-452D-8C18-0A761571DA5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55833" y="1412565"/>
            <a:ext cx="1808728" cy="284693"/>
          </a:xfrm>
          <a:noFill/>
        </p:spPr>
        <p:txBody>
          <a:bodyPr lIns="9144" tIns="45720" rIns="9144" bIns="45720">
            <a:spAutoFit/>
          </a:bodyPr>
          <a:lstStyle>
            <a:lvl1pPr marL="0" indent="0" algn="ctr">
              <a:lnSpc>
                <a:spcPts val="1467"/>
              </a:lnSpc>
              <a:buClr>
                <a:schemeClr val="accent5"/>
              </a:buClr>
              <a:buFont typeface="Arial" charset="0"/>
              <a:buNone/>
              <a:defRPr sz="1333" b="1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77" name="Picture Placeholder 24">
            <a:extLst>
              <a:ext uri="{FF2B5EF4-FFF2-40B4-BE49-F238E27FC236}">
                <a16:creationId xmlns:a16="http://schemas.microsoft.com/office/drawing/2014/main" id="{29B1B1C6-0591-4C28-89BA-B86623CFBD1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527549" y="2125727"/>
            <a:ext cx="1065296" cy="105890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78" name="Text Placeholder 5">
            <a:extLst>
              <a:ext uri="{FF2B5EF4-FFF2-40B4-BE49-F238E27FC236}">
                <a16:creationId xmlns:a16="http://schemas.microsoft.com/office/drawing/2014/main" id="{B9406183-6DF5-4723-AE9D-C2416B3968CB}"/>
              </a:ext>
            </a:extLst>
          </p:cNvPr>
          <p:cNvSpPr txBox="1">
            <a:spLocks/>
          </p:cNvSpPr>
          <p:nvPr userDrawn="1"/>
        </p:nvSpPr>
        <p:spPr>
          <a:xfrm>
            <a:off x="8098664" y="1362144"/>
            <a:ext cx="1808729" cy="2119149"/>
          </a:xfrm>
          <a:prstGeom prst="rect">
            <a:avLst/>
          </a:prstGeom>
          <a:solidFill>
            <a:srgbClr val="F2F2F2"/>
          </a:solidFill>
        </p:spPr>
        <p:txBody>
          <a:bodyPr lIns="60960" tIns="60960" rIns="60960" bIns="60960">
            <a:normAutofit/>
          </a:bodyPr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1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0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67"/>
          </a:p>
        </p:txBody>
      </p:sp>
      <p:sp>
        <p:nvSpPr>
          <p:cNvPr id="79" name="Text Placeholder 5">
            <a:extLst>
              <a:ext uri="{FF2B5EF4-FFF2-40B4-BE49-F238E27FC236}">
                <a16:creationId xmlns:a16="http://schemas.microsoft.com/office/drawing/2014/main" id="{030D81B2-9805-45F4-9733-6D8B2F286B4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90205" y="1412565"/>
            <a:ext cx="1808728" cy="284693"/>
          </a:xfrm>
          <a:noFill/>
        </p:spPr>
        <p:txBody>
          <a:bodyPr lIns="9144" tIns="45720" rIns="9144" bIns="45720">
            <a:spAutoFit/>
          </a:bodyPr>
          <a:lstStyle>
            <a:lvl1pPr marL="0" indent="0" algn="ctr">
              <a:lnSpc>
                <a:spcPts val="1467"/>
              </a:lnSpc>
              <a:buClr>
                <a:schemeClr val="accent5"/>
              </a:buClr>
              <a:buFont typeface="Arial" charset="0"/>
              <a:buNone/>
              <a:defRPr sz="1333" b="1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80" name="Picture Placeholder 24">
            <a:extLst>
              <a:ext uri="{FF2B5EF4-FFF2-40B4-BE49-F238E27FC236}">
                <a16:creationId xmlns:a16="http://schemas.microsoft.com/office/drawing/2014/main" id="{958C00C7-2960-497D-A968-960BD10167A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461921" y="2125727"/>
            <a:ext cx="1065296" cy="105890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81" name="Text Placeholder 5">
            <a:extLst>
              <a:ext uri="{FF2B5EF4-FFF2-40B4-BE49-F238E27FC236}">
                <a16:creationId xmlns:a16="http://schemas.microsoft.com/office/drawing/2014/main" id="{DBF5CBEE-A9AC-4609-87F3-A015A8A0E1F7}"/>
              </a:ext>
            </a:extLst>
          </p:cNvPr>
          <p:cNvSpPr txBox="1">
            <a:spLocks/>
          </p:cNvSpPr>
          <p:nvPr userDrawn="1"/>
        </p:nvSpPr>
        <p:spPr>
          <a:xfrm>
            <a:off x="10033034" y="1362144"/>
            <a:ext cx="1808729" cy="2119149"/>
          </a:xfrm>
          <a:prstGeom prst="rect">
            <a:avLst/>
          </a:prstGeom>
          <a:solidFill>
            <a:srgbClr val="F2F2F2"/>
          </a:solidFill>
        </p:spPr>
        <p:txBody>
          <a:bodyPr lIns="60960" tIns="60960" rIns="60960" bIns="60960">
            <a:normAutofit/>
          </a:bodyPr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1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0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67"/>
          </a:p>
        </p:txBody>
      </p:sp>
      <p:sp>
        <p:nvSpPr>
          <p:cNvPr id="82" name="Text Placeholder 5">
            <a:extLst>
              <a:ext uri="{FF2B5EF4-FFF2-40B4-BE49-F238E27FC236}">
                <a16:creationId xmlns:a16="http://schemas.microsoft.com/office/drawing/2014/main" id="{9A00BE56-0470-459A-8211-D99E937DD29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24576" y="1412565"/>
            <a:ext cx="1808728" cy="284693"/>
          </a:xfrm>
          <a:noFill/>
        </p:spPr>
        <p:txBody>
          <a:bodyPr lIns="9144" tIns="45720" rIns="9144" bIns="45720">
            <a:spAutoFit/>
          </a:bodyPr>
          <a:lstStyle>
            <a:lvl1pPr marL="0" indent="0" algn="ctr">
              <a:lnSpc>
                <a:spcPts val="1467"/>
              </a:lnSpc>
              <a:buClr>
                <a:schemeClr val="accent5"/>
              </a:buClr>
              <a:buFont typeface="Arial" charset="0"/>
              <a:buNone/>
              <a:defRPr sz="1333" b="1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83" name="Picture Placeholder 24">
            <a:extLst>
              <a:ext uri="{FF2B5EF4-FFF2-40B4-BE49-F238E27FC236}">
                <a16:creationId xmlns:a16="http://schemas.microsoft.com/office/drawing/2014/main" id="{E2F79C83-2205-461E-BDFB-90CF32F27D04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0396292" y="2125727"/>
            <a:ext cx="1065296" cy="105890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84" name="Text Placeholder 5">
            <a:extLst>
              <a:ext uri="{FF2B5EF4-FFF2-40B4-BE49-F238E27FC236}">
                <a16:creationId xmlns:a16="http://schemas.microsoft.com/office/drawing/2014/main" id="{2E40578F-2F91-4C6A-834E-5891B7F21EB4}"/>
              </a:ext>
            </a:extLst>
          </p:cNvPr>
          <p:cNvSpPr txBox="1">
            <a:spLocks/>
          </p:cNvSpPr>
          <p:nvPr userDrawn="1"/>
        </p:nvSpPr>
        <p:spPr>
          <a:xfrm>
            <a:off x="361176" y="3616227"/>
            <a:ext cx="1808729" cy="2119149"/>
          </a:xfrm>
          <a:prstGeom prst="rect">
            <a:avLst/>
          </a:prstGeom>
          <a:solidFill>
            <a:srgbClr val="F2F2F2"/>
          </a:solidFill>
        </p:spPr>
        <p:txBody>
          <a:bodyPr lIns="60960" tIns="60960" rIns="60960" bIns="60960">
            <a:normAutofit/>
          </a:bodyPr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1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0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67"/>
          </a:p>
        </p:txBody>
      </p:sp>
      <p:sp>
        <p:nvSpPr>
          <p:cNvPr id="85" name="Text Placeholder 5">
            <a:extLst>
              <a:ext uri="{FF2B5EF4-FFF2-40B4-BE49-F238E27FC236}">
                <a16:creationId xmlns:a16="http://schemas.microsoft.com/office/drawing/2014/main" id="{3F396002-4904-453B-A7EC-4FDFE607962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2717" y="3666647"/>
            <a:ext cx="1808728" cy="284693"/>
          </a:xfrm>
          <a:noFill/>
        </p:spPr>
        <p:txBody>
          <a:bodyPr lIns="9144" tIns="45720" rIns="9144" bIns="45720">
            <a:spAutoFit/>
          </a:bodyPr>
          <a:lstStyle>
            <a:lvl1pPr marL="0" indent="0" algn="ctr">
              <a:lnSpc>
                <a:spcPts val="1467"/>
              </a:lnSpc>
              <a:buClr>
                <a:schemeClr val="accent5"/>
              </a:buClr>
              <a:buFont typeface="Arial" charset="0"/>
              <a:buNone/>
              <a:defRPr sz="1333" b="1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86" name="Picture Placeholder 24">
            <a:extLst>
              <a:ext uri="{FF2B5EF4-FFF2-40B4-BE49-F238E27FC236}">
                <a16:creationId xmlns:a16="http://schemas.microsoft.com/office/drawing/2014/main" id="{C5FD7F17-780F-4245-B8C7-E57161B1EA14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724433" y="4379809"/>
            <a:ext cx="1065296" cy="105890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87" name="Text Placeholder 5">
            <a:extLst>
              <a:ext uri="{FF2B5EF4-FFF2-40B4-BE49-F238E27FC236}">
                <a16:creationId xmlns:a16="http://schemas.microsoft.com/office/drawing/2014/main" id="{9932B7A4-E5EA-4F45-AD08-0D99CF55655C}"/>
              </a:ext>
            </a:extLst>
          </p:cNvPr>
          <p:cNvSpPr txBox="1">
            <a:spLocks/>
          </p:cNvSpPr>
          <p:nvPr userDrawn="1"/>
        </p:nvSpPr>
        <p:spPr>
          <a:xfrm>
            <a:off x="2295548" y="3616227"/>
            <a:ext cx="1808729" cy="2119149"/>
          </a:xfrm>
          <a:prstGeom prst="rect">
            <a:avLst/>
          </a:prstGeom>
          <a:solidFill>
            <a:srgbClr val="F2F2F2"/>
          </a:solidFill>
        </p:spPr>
        <p:txBody>
          <a:bodyPr lIns="60960" tIns="60960" rIns="60960" bIns="60960">
            <a:normAutofit/>
          </a:bodyPr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1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0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67"/>
          </a:p>
        </p:txBody>
      </p:sp>
      <p:sp>
        <p:nvSpPr>
          <p:cNvPr id="88" name="Text Placeholder 5">
            <a:extLst>
              <a:ext uri="{FF2B5EF4-FFF2-40B4-BE49-F238E27FC236}">
                <a16:creationId xmlns:a16="http://schemas.microsoft.com/office/drawing/2014/main" id="{513A05A3-9772-40A9-9CD5-65FFDDE85A4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87089" y="3666647"/>
            <a:ext cx="1808728" cy="284693"/>
          </a:xfrm>
          <a:noFill/>
        </p:spPr>
        <p:txBody>
          <a:bodyPr lIns="9144" tIns="45720" rIns="9144" bIns="45720">
            <a:spAutoFit/>
          </a:bodyPr>
          <a:lstStyle>
            <a:lvl1pPr marL="0" indent="0" algn="ctr">
              <a:lnSpc>
                <a:spcPts val="1467"/>
              </a:lnSpc>
              <a:buClr>
                <a:schemeClr val="accent5"/>
              </a:buClr>
              <a:buFont typeface="Arial" charset="0"/>
              <a:buNone/>
              <a:defRPr sz="1333" b="1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89" name="Picture Placeholder 24">
            <a:extLst>
              <a:ext uri="{FF2B5EF4-FFF2-40B4-BE49-F238E27FC236}">
                <a16:creationId xmlns:a16="http://schemas.microsoft.com/office/drawing/2014/main" id="{8FB05AFB-88E9-4186-A5BA-B23986C84DE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658805" y="4379809"/>
            <a:ext cx="1065296" cy="105890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90" name="Text Placeholder 5">
            <a:extLst>
              <a:ext uri="{FF2B5EF4-FFF2-40B4-BE49-F238E27FC236}">
                <a16:creationId xmlns:a16="http://schemas.microsoft.com/office/drawing/2014/main" id="{5FAE67C9-AE8B-485D-AE21-A1227D39F7D8}"/>
              </a:ext>
            </a:extLst>
          </p:cNvPr>
          <p:cNvSpPr txBox="1">
            <a:spLocks/>
          </p:cNvSpPr>
          <p:nvPr userDrawn="1"/>
        </p:nvSpPr>
        <p:spPr>
          <a:xfrm>
            <a:off x="4229920" y="3616227"/>
            <a:ext cx="1808729" cy="2119149"/>
          </a:xfrm>
          <a:prstGeom prst="rect">
            <a:avLst/>
          </a:prstGeom>
          <a:solidFill>
            <a:srgbClr val="F2F2F2"/>
          </a:solidFill>
        </p:spPr>
        <p:txBody>
          <a:bodyPr lIns="60960" tIns="60960" rIns="60960" bIns="60960">
            <a:normAutofit/>
          </a:bodyPr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1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0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67"/>
          </a:p>
        </p:txBody>
      </p:sp>
      <p:sp>
        <p:nvSpPr>
          <p:cNvPr id="91" name="Text Placeholder 5">
            <a:extLst>
              <a:ext uri="{FF2B5EF4-FFF2-40B4-BE49-F238E27FC236}">
                <a16:creationId xmlns:a16="http://schemas.microsoft.com/office/drawing/2014/main" id="{7D65D32D-D084-4380-BCBD-2F094A91642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21461" y="3666647"/>
            <a:ext cx="1808728" cy="284693"/>
          </a:xfrm>
          <a:noFill/>
        </p:spPr>
        <p:txBody>
          <a:bodyPr lIns="9144" tIns="45720" rIns="9144" bIns="45720">
            <a:spAutoFit/>
          </a:bodyPr>
          <a:lstStyle>
            <a:lvl1pPr marL="0" indent="0" algn="ctr">
              <a:lnSpc>
                <a:spcPts val="1467"/>
              </a:lnSpc>
              <a:buClr>
                <a:schemeClr val="accent5"/>
              </a:buClr>
              <a:buFont typeface="Arial" charset="0"/>
              <a:buNone/>
              <a:defRPr sz="1333" b="1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92" name="Picture Placeholder 24">
            <a:extLst>
              <a:ext uri="{FF2B5EF4-FFF2-40B4-BE49-F238E27FC236}">
                <a16:creationId xmlns:a16="http://schemas.microsoft.com/office/drawing/2014/main" id="{D23DF285-D4C3-4104-A3EE-8B8E22E3B95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593177" y="4379809"/>
            <a:ext cx="1065296" cy="105890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93" name="Text Placeholder 5">
            <a:extLst>
              <a:ext uri="{FF2B5EF4-FFF2-40B4-BE49-F238E27FC236}">
                <a16:creationId xmlns:a16="http://schemas.microsoft.com/office/drawing/2014/main" id="{9429B085-3C1F-43D6-838D-242F4FAD99F9}"/>
              </a:ext>
            </a:extLst>
          </p:cNvPr>
          <p:cNvSpPr txBox="1">
            <a:spLocks/>
          </p:cNvSpPr>
          <p:nvPr userDrawn="1"/>
        </p:nvSpPr>
        <p:spPr>
          <a:xfrm>
            <a:off x="6164292" y="3616227"/>
            <a:ext cx="1808729" cy="2119149"/>
          </a:xfrm>
          <a:prstGeom prst="rect">
            <a:avLst/>
          </a:prstGeom>
          <a:solidFill>
            <a:srgbClr val="F2F2F2"/>
          </a:solidFill>
        </p:spPr>
        <p:txBody>
          <a:bodyPr lIns="60960" tIns="60960" rIns="60960" bIns="60960">
            <a:normAutofit/>
          </a:bodyPr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1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0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67"/>
          </a:p>
        </p:txBody>
      </p:sp>
      <p:sp>
        <p:nvSpPr>
          <p:cNvPr id="94" name="Text Placeholder 5">
            <a:extLst>
              <a:ext uri="{FF2B5EF4-FFF2-40B4-BE49-F238E27FC236}">
                <a16:creationId xmlns:a16="http://schemas.microsoft.com/office/drawing/2014/main" id="{50373C7F-562C-4416-ADE4-AC8E1AA0656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55833" y="3666647"/>
            <a:ext cx="1808728" cy="284693"/>
          </a:xfrm>
          <a:noFill/>
        </p:spPr>
        <p:txBody>
          <a:bodyPr lIns="9144" tIns="45720" rIns="9144" bIns="45720">
            <a:spAutoFit/>
          </a:bodyPr>
          <a:lstStyle>
            <a:lvl1pPr marL="0" indent="0" algn="ctr">
              <a:lnSpc>
                <a:spcPts val="1467"/>
              </a:lnSpc>
              <a:buClr>
                <a:schemeClr val="accent5"/>
              </a:buClr>
              <a:buFont typeface="Arial" charset="0"/>
              <a:buNone/>
              <a:defRPr sz="1333" b="1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95" name="Picture Placeholder 24">
            <a:extLst>
              <a:ext uri="{FF2B5EF4-FFF2-40B4-BE49-F238E27FC236}">
                <a16:creationId xmlns:a16="http://schemas.microsoft.com/office/drawing/2014/main" id="{186BC54A-1F1C-4DC3-BAF7-DC027E4A74F8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527549" y="4379809"/>
            <a:ext cx="1065296" cy="105890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96" name="Text Placeholder 5">
            <a:extLst>
              <a:ext uri="{FF2B5EF4-FFF2-40B4-BE49-F238E27FC236}">
                <a16:creationId xmlns:a16="http://schemas.microsoft.com/office/drawing/2014/main" id="{4B51AEB9-A22F-4C4F-A185-9ADD7DA69FA7}"/>
              </a:ext>
            </a:extLst>
          </p:cNvPr>
          <p:cNvSpPr txBox="1">
            <a:spLocks/>
          </p:cNvSpPr>
          <p:nvPr userDrawn="1"/>
        </p:nvSpPr>
        <p:spPr>
          <a:xfrm>
            <a:off x="8098664" y="3616227"/>
            <a:ext cx="1808729" cy="2119149"/>
          </a:xfrm>
          <a:prstGeom prst="rect">
            <a:avLst/>
          </a:prstGeom>
          <a:solidFill>
            <a:srgbClr val="F2F2F2"/>
          </a:solidFill>
        </p:spPr>
        <p:txBody>
          <a:bodyPr lIns="60960" tIns="60960" rIns="60960" bIns="60960">
            <a:normAutofit/>
          </a:bodyPr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1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0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67"/>
          </a:p>
        </p:txBody>
      </p:sp>
      <p:sp>
        <p:nvSpPr>
          <p:cNvPr id="97" name="Text Placeholder 5">
            <a:extLst>
              <a:ext uri="{FF2B5EF4-FFF2-40B4-BE49-F238E27FC236}">
                <a16:creationId xmlns:a16="http://schemas.microsoft.com/office/drawing/2014/main" id="{57A9C09F-172F-40EB-B702-E06DE46BE09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090205" y="3666647"/>
            <a:ext cx="1808728" cy="284693"/>
          </a:xfrm>
          <a:noFill/>
        </p:spPr>
        <p:txBody>
          <a:bodyPr lIns="9144" tIns="45720" rIns="9144" bIns="45720">
            <a:spAutoFit/>
          </a:bodyPr>
          <a:lstStyle>
            <a:lvl1pPr marL="0" indent="0" algn="ctr">
              <a:lnSpc>
                <a:spcPts val="1467"/>
              </a:lnSpc>
              <a:buClr>
                <a:schemeClr val="accent5"/>
              </a:buClr>
              <a:buFont typeface="Arial" charset="0"/>
              <a:buNone/>
              <a:defRPr sz="1333" b="1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98" name="Picture Placeholder 24">
            <a:extLst>
              <a:ext uri="{FF2B5EF4-FFF2-40B4-BE49-F238E27FC236}">
                <a16:creationId xmlns:a16="http://schemas.microsoft.com/office/drawing/2014/main" id="{3BB360A7-7A98-470E-9A14-C9FD9F0E7089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61921" y="4379809"/>
            <a:ext cx="1065296" cy="105890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99" name="Text Placeholder 5">
            <a:extLst>
              <a:ext uri="{FF2B5EF4-FFF2-40B4-BE49-F238E27FC236}">
                <a16:creationId xmlns:a16="http://schemas.microsoft.com/office/drawing/2014/main" id="{DECA828F-A628-42CA-A6E4-2B377E1AAE6A}"/>
              </a:ext>
            </a:extLst>
          </p:cNvPr>
          <p:cNvSpPr txBox="1">
            <a:spLocks/>
          </p:cNvSpPr>
          <p:nvPr userDrawn="1"/>
        </p:nvSpPr>
        <p:spPr>
          <a:xfrm>
            <a:off x="10033034" y="3616227"/>
            <a:ext cx="1808729" cy="2119149"/>
          </a:xfrm>
          <a:prstGeom prst="rect">
            <a:avLst/>
          </a:prstGeom>
          <a:solidFill>
            <a:srgbClr val="F2F2F2"/>
          </a:solidFill>
        </p:spPr>
        <p:txBody>
          <a:bodyPr lIns="60960" tIns="60960" rIns="60960" bIns="60960">
            <a:normAutofit/>
          </a:bodyPr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1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0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67"/>
          </a:p>
        </p:txBody>
      </p:sp>
      <p:sp>
        <p:nvSpPr>
          <p:cNvPr id="100" name="Text Placeholder 5">
            <a:extLst>
              <a:ext uri="{FF2B5EF4-FFF2-40B4-BE49-F238E27FC236}">
                <a16:creationId xmlns:a16="http://schemas.microsoft.com/office/drawing/2014/main" id="{25D75B5C-9C05-4341-88C4-14D844A493A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0024576" y="3666647"/>
            <a:ext cx="1808728" cy="284693"/>
          </a:xfrm>
          <a:noFill/>
        </p:spPr>
        <p:txBody>
          <a:bodyPr lIns="9144" tIns="45720" rIns="9144" bIns="45720">
            <a:spAutoFit/>
          </a:bodyPr>
          <a:lstStyle>
            <a:lvl1pPr marL="0" indent="0" algn="ctr">
              <a:lnSpc>
                <a:spcPts val="1467"/>
              </a:lnSpc>
              <a:buClr>
                <a:schemeClr val="accent5"/>
              </a:buClr>
              <a:buFont typeface="Arial" charset="0"/>
              <a:buNone/>
              <a:defRPr sz="1333" b="1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01" name="Picture Placeholder 24">
            <a:extLst>
              <a:ext uri="{FF2B5EF4-FFF2-40B4-BE49-F238E27FC236}">
                <a16:creationId xmlns:a16="http://schemas.microsoft.com/office/drawing/2014/main" id="{D460EF21-9C18-4094-B6C5-626EE301211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10396292" y="4379809"/>
            <a:ext cx="1065296" cy="105890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102" name="Text Placeholder 5">
            <a:extLst>
              <a:ext uri="{FF2B5EF4-FFF2-40B4-BE49-F238E27FC236}">
                <a16:creationId xmlns:a16="http://schemas.microsoft.com/office/drawing/2014/main" id="{B929E8C0-01BC-4EEC-B7D6-986F8C8E4A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63884" y="6035645"/>
            <a:ext cx="9264232" cy="221599"/>
          </a:xfrm>
        </p:spPr>
        <p:txBody>
          <a:bodyPr tIns="0" bIns="0" anchor="ctr" anchorCtr="0">
            <a:sp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1600" i="1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106085154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oductMessaging - 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Speech Bubble: Rectangle with Corners Rounded 20">
            <a:extLst>
              <a:ext uri="{FF2B5EF4-FFF2-40B4-BE49-F238E27FC236}">
                <a16:creationId xmlns:a16="http://schemas.microsoft.com/office/drawing/2014/main" id="{FB717516-E8DC-2147-92E2-8E082FD34003}"/>
              </a:ext>
            </a:extLst>
          </p:cNvPr>
          <p:cNvSpPr/>
          <p:nvPr userDrawn="1"/>
        </p:nvSpPr>
        <p:spPr>
          <a:xfrm>
            <a:off x="8266181" y="1718589"/>
            <a:ext cx="3291840" cy="3072795"/>
          </a:xfrm>
          <a:prstGeom prst="wedgeRoundRectCallou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lnSpc>
                <a:spcPct val="150000"/>
              </a:lnSpc>
            </a:pPr>
            <a:endParaRPr lang="en-US" sz="193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7" name="Speech Bubble: Rectangle with Corners Rounded 22">
            <a:extLst>
              <a:ext uri="{FF2B5EF4-FFF2-40B4-BE49-F238E27FC236}">
                <a16:creationId xmlns:a16="http://schemas.microsoft.com/office/drawing/2014/main" id="{3BB92717-A782-264E-ACC1-289D25AB2818}"/>
              </a:ext>
            </a:extLst>
          </p:cNvPr>
          <p:cNvSpPr/>
          <p:nvPr userDrawn="1"/>
        </p:nvSpPr>
        <p:spPr>
          <a:xfrm>
            <a:off x="4467745" y="1718589"/>
            <a:ext cx="3291840" cy="3072795"/>
          </a:xfrm>
          <a:prstGeom prst="wedgeRoundRectCallou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lnSpc>
                <a:spcPct val="150000"/>
              </a:lnSpc>
            </a:pPr>
            <a:endParaRPr lang="en-US" sz="193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9" name="Speech Bubble: Rectangle with Corners Rounded 24">
            <a:extLst>
              <a:ext uri="{FF2B5EF4-FFF2-40B4-BE49-F238E27FC236}">
                <a16:creationId xmlns:a16="http://schemas.microsoft.com/office/drawing/2014/main" id="{0076B517-99E9-7C43-B2A0-ED29DCAD6011}"/>
              </a:ext>
            </a:extLst>
          </p:cNvPr>
          <p:cNvSpPr/>
          <p:nvPr userDrawn="1"/>
        </p:nvSpPr>
        <p:spPr>
          <a:xfrm>
            <a:off x="672393" y="1669928"/>
            <a:ext cx="3288759" cy="3069125"/>
          </a:xfrm>
          <a:prstGeom prst="wedgeRoundRectCallou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lnSpc>
                <a:spcPct val="150000"/>
              </a:lnSpc>
            </a:pPr>
            <a:endParaRPr lang="en-US" sz="1933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63E2BE2-9123-104B-8CE1-E85BAC2BDF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FFAEFE9-E13B-924D-8CDC-296A34BD1D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7627" y="1881200"/>
            <a:ext cx="2711823" cy="2606133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50000"/>
              </a:lnSpc>
              <a:buNone/>
              <a:defRPr sz="1933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add quote here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1756A764-8E69-0441-93C6-CCF76E7FB9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61038" y="1881200"/>
            <a:ext cx="2711823" cy="2606133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50000"/>
              </a:lnSpc>
              <a:buNone/>
              <a:defRPr sz="1933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add quote here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ACA93185-BB83-284E-B5D6-D41FC93174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55189" y="1881200"/>
            <a:ext cx="2711823" cy="2606133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50000"/>
              </a:lnSpc>
              <a:buNone/>
              <a:defRPr sz="1933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add quote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A5C72E6-0F4B-F240-9B0D-A13BA2761D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2393" y="5244906"/>
            <a:ext cx="3288759" cy="700933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Name </a:t>
            </a:r>
          </a:p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Company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C83E58D1-244F-0A4E-AB64-A5EA59B9F2D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76297" y="5244906"/>
            <a:ext cx="3288759" cy="700933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Name </a:t>
            </a:r>
          </a:p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Company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06ADE24F-B231-4F45-8E5E-CA582E2820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41186" y="5244906"/>
            <a:ext cx="3288759" cy="700933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Name </a:t>
            </a:r>
          </a:p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Company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EDCE5888-40F6-3E44-BEAA-3F0829CF97C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3124" y="6358103"/>
            <a:ext cx="2681817" cy="211667"/>
          </a:xfrm>
        </p:spPr>
        <p:txBody>
          <a:bodyPr>
            <a:noAutofit/>
          </a:bodyPr>
          <a:lstStyle>
            <a:lvl1pPr marL="0" indent="0">
              <a:buNone/>
              <a:defRPr sz="1067" i="1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Add source</a:t>
            </a:r>
          </a:p>
        </p:txBody>
      </p:sp>
    </p:spTree>
    <p:extLst>
      <p:ext uri="{BB962C8B-B14F-4D97-AF65-F5344CB8AC3E}">
        <p14:creationId xmlns:p14="http://schemas.microsoft.com/office/powerpoint/2010/main" val="366874317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ering/technical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FE5F67C3-640D-4740-AA2B-707DBF50B79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180186"/>
            <a:ext cx="12192000" cy="4964583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1577086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Su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0E578E2-1277-404C-8C9E-F0C88D91C3B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12234" y="1595967"/>
            <a:ext cx="5371257" cy="4437252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        Inser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C70CFA0-AD4C-784C-BED1-9484B8B8E2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62607" y="2454801"/>
            <a:ext cx="5218192" cy="3613044"/>
          </a:xfrm>
        </p:spPr>
        <p:txBody>
          <a:bodyPr tIns="0" bIns="0">
            <a:noAutofit/>
          </a:bodyPr>
          <a:lstStyle>
            <a:lvl1pPr marL="228594" marR="0" indent="-228594" algn="l" defTabSz="914377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accent5"/>
              </a:buClr>
              <a:buSzTx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marL="228594" marR="0" lvl="0" indent="-228594" algn="l" defTabSz="914377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accent5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Edit Master text styles</a:t>
            </a:r>
          </a:p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F880643A-7123-E640-9164-515549C447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62608" y="1595967"/>
            <a:ext cx="5218192" cy="638216"/>
          </a:xfrm>
        </p:spPr>
        <p:txBody>
          <a:bodyPr tIns="0" bIns="0" anchor="b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49BA6CD-B2DE-404F-B3ED-8663D2217E63}"/>
              </a:ext>
            </a:extLst>
          </p:cNvPr>
          <p:cNvCxnSpPr/>
          <p:nvPr userDrawn="1"/>
        </p:nvCxnSpPr>
        <p:spPr>
          <a:xfrm>
            <a:off x="6262607" y="2329016"/>
            <a:ext cx="51798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3469774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ston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0990" indent="-222245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20000"/>
                  <a:lumOff val="80000"/>
                </a:schemeClr>
              </a:gs>
              <a:gs pos="100000">
                <a:srgbClr val="FFFFFF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41178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0E38494-91CD-46FB-B963-CA89C969CA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1" y="1560576"/>
            <a:ext cx="5711372" cy="4507269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0650345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tanzanit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0990" indent="-222245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5478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turquois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0990" indent="-222245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06178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slat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0990" indent="-222245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6279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win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5224" indent="-226478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502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60400" y="1929009"/>
            <a:ext cx="10822763" cy="4138836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158901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(No 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60400" y="1929009"/>
            <a:ext cx="10822763" cy="4138836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118569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Narrative Content (No 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0E38494-91CD-46FB-B963-CA89C969CA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0" y="1560576"/>
            <a:ext cx="10822763" cy="4507269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buClr>
                <a:schemeClr val="accent5"/>
              </a:buClr>
              <a:buFont typeface="Arial" charset="0"/>
              <a:buNone/>
              <a:defRPr sz="2133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0703429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60400" y="1929009"/>
            <a:ext cx="5218192" cy="4138836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262607" y="1929009"/>
            <a:ext cx="5218192" cy="4138836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DF1DFA-04C1-AC4E-85CF-5F12D85BB3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68966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 with open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60400" y="1929009"/>
            <a:ext cx="5218192" cy="4138836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65304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 (des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60400" y="1936863"/>
            <a:ext cx="5218192" cy="4105581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buClr>
                <a:schemeClr val="accent5"/>
              </a:buClr>
              <a:buFontTx/>
              <a:buNone/>
              <a:defRPr sz="2667" b="1">
                <a:solidFill>
                  <a:schemeClr val="accent5"/>
                </a:solidFill>
              </a:defRPr>
            </a:lvl1pPr>
            <a:lvl2pPr marL="6351" indent="0">
              <a:lnSpc>
                <a:spcPct val="100000"/>
              </a:lnSpc>
              <a:buClr>
                <a:schemeClr val="accent5"/>
              </a:buClr>
              <a:buFontTx/>
              <a:buNone/>
              <a:tabLst/>
              <a:defRPr sz="2400">
                <a:solidFill>
                  <a:schemeClr val="tx1"/>
                </a:solidFill>
              </a:defRPr>
            </a:lvl2pPr>
            <a:lvl3pPr marL="914377" indent="0">
              <a:buClr>
                <a:schemeClr val="accent5"/>
              </a:buClr>
              <a:buFontTx/>
              <a:buNone/>
              <a:tabLst/>
              <a:defRPr sz="1867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D4D1499-4EA4-B347-A5AA-9A3B209E06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0290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 (des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D4D1499-4EA4-B347-A5AA-9A3B209E06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68C803D3-5DEB-4213-818A-E9F9F852D4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400" y="1883508"/>
            <a:ext cx="5218192" cy="4158936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buClr>
                <a:schemeClr val="accent5"/>
              </a:buClr>
              <a:buFontTx/>
              <a:buNone/>
              <a:defRPr sz="2133" b="1">
                <a:solidFill>
                  <a:schemeClr val="accent5"/>
                </a:solidFill>
              </a:defRPr>
            </a:lvl1pPr>
            <a:lvl2pPr marL="6351" indent="0">
              <a:lnSpc>
                <a:spcPct val="100000"/>
              </a:lnSpc>
              <a:buClr>
                <a:schemeClr val="accent5"/>
              </a:buClr>
              <a:buFontTx/>
              <a:buNone/>
              <a:tabLst/>
              <a:defRPr sz="1867">
                <a:solidFill>
                  <a:schemeClr val="tx1"/>
                </a:solidFill>
              </a:defRPr>
            </a:lvl2pPr>
            <a:lvl3pPr marL="914377" indent="0">
              <a:buClr>
                <a:schemeClr val="accent5"/>
              </a:buClr>
              <a:buFontTx/>
              <a:buNone/>
              <a:tabLst/>
              <a:defRPr sz="1867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41427779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8200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46986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339621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9272385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0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78781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778781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3559560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3559560" y="4267700"/>
            <a:ext cx="2008176" cy="308976"/>
          </a:xfrm>
        </p:spPr>
        <p:txBody>
          <a:bodyPr tIns="0" bIns="0">
            <a:noAutofit/>
          </a:bodyPr>
          <a:lstStyle>
            <a:lvl1pPr marL="0" marR="0" indent="0" algn="ctr" defTabSz="914377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marL="0" marR="0" lvl="0" indent="0" algn="ctr" defTabSz="914377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6348689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6348689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26"/>
          </p:nvPr>
        </p:nvSpPr>
        <p:spPr>
          <a:xfrm>
            <a:off x="9112767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9112767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8" name="Text Placeholder 10"/>
          <p:cNvSpPr>
            <a:spLocks noGrp="1"/>
          </p:cNvSpPr>
          <p:nvPr>
            <p:ph type="body" sz="quarter" idx="29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711BB32-EAFA-DA4E-8119-2B26980221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16478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3FD1B140-E768-9349-BB52-F77A0C5FBD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184565"/>
            <a:ext cx="12192000" cy="5673436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8364323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79A4FE8-5BBD-5144-B80B-83166EEC7B1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4087704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+ Content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79067" cy="68580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599665" y="366186"/>
            <a:ext cx="5206200" cy="1043020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99665" y="1492712"/>
            <a:ext cx="5206200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6603275" y="2090379"/>
            <a:ext cx="5218192" cy="3837285"/>
          </a:xfrm>
        </p:spPr>
        <p:txBody>
          <a:bodyPr tIns="0" bIns="0">
            <a:noAutofit/>
          </a:bodyPr>
          <a:lstStyle>
            <a:lvl1pPr marL="228594" indent="-228594"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07946336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+ Content (des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601365" y="2081998"/>
            <a:ext cx="5218192" cy="3845665"/>
          </a:xfrm>
        </p:spPr>
        <p:txBody>
          <a:bodyPr tIns="0" bIns="0">
            <a:noAutofit/>
          </a:bodyPr>
          <a:lstStyle>
            <a:lvl1pPr marL="0" indent="0">
              <a:buClr>
                <a:schemeClr val="accent5"/>
              </a:buClr>
              <a:buFontTx/>
              <a:buNone/>
              <a:defRPr sz="2667" b="1">
                <a:solidFill>
                  <a:schemeClr val="accent5"/>
                </a:solidFill>
              </a:defRPr>
            </a:lvl1pPr>
            <a:lvl2pPr marL="6351" indent="0">
              <a:buClr>
                <a:schemeClr val="accent5"/>
              </a:buClr>
              <a:buFontTx/>
              <a:buNone/>
              <a:tabLst/>
              <a:defRPr sz="2400">
                <a:solidFill>
                  <a:schemeClr val="tx1"/>
                </a:solidFill>
              </a:defRPr>
            </a:lvl2pPr>
            <a:lvl3pPr marL="914377" indent="0">
              <a:buClr>
                <a:schemeClr val="accent5"/>
              </a:buClr>
              <a:buFontTx/>
              <a:buNone/>
              <a:tabLst/>
              <a:defRPr sz="1867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79067" cy="68580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599665" y="366186"/>
            <a:ext cx="5206200" cy="1043020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99665" y="1492712"/>
            <a:ext cx="5206200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344571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stone)">
    <p:bg>
      <p:bgPr>
        <a:gradFill flip="none" rotWithShape="1">
          <a:gsLst>
            <a:gs pos="9000">
              <a:srgbClr val="FFFFFF"/>
            </a:gs>
            <a:gs pos="94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his is a divider slide with 3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05715" y="0"/>
            <a:ext cx="5886285" cy="652037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0CC28EE-BEBC-6140-B0DD-3F5C361607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7481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87776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tanzani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5912" y="-1"/>
            <a:ext cx="6086089" cy="6858001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843C757-D843-0641-93EC-0D5F2F785E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6442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47845" y="0"/>
            <a:ext cx="644415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702F6C4-00AE-8B44-84A8-0ED4D7E14AE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5165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sla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6E2AD53-5E17-4B41-A8A7-94FBFE9BA8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6775" y="477626"/>
            <a:ext cx="3394007" cy="393963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06333" y="4681293"/>
            <a:ext cx="8085667" cy="2173641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Oval 12"/>
          <p:cNvSpPr/>
          <p:nvPr userDrawn="1"/>
        </p:nvSpPr>
        <p:spPr>
          <a:xfrm rot="19240361">
            <a:off x="9599437" y="3824170"/>
            <a:ext cx="449724" cy="449724"/>
          </a:xfrm>
          <a:prstGeom prst="ellipse">
            <a:avLst/>
          </a:prstGeom>
          <a:noFill/>
          <a:ln w="127000">
            <a:gradFill>
              <a:gsLst>
                <a:gs pos="8000">
                  <a:srgbClr val="B6D330"/>
                </a:gs>
                <a:gs pos="100000">
                  <a:schemeClr val="accent1">
                    <a:alpha val="0"/>
                    <a:lumMod val="34000"/>
                    <a:lumOff val="66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6ED38B6-17D7-6940-B802-FAD30A61BA8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6371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299199" y="1"/>
            <a:ext cx="5892799" cy="65227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8EF8B3B-5429-3B4D-97D6-1A39F73C0A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5718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stone)">
    <p:bg>
      <p:bgPr>
        <a:gradFill flip="none" rotWithShape="1">
          <a:gsLst>
            <a:gs pos="0">
              <a:srgbClr val="FFFFFF"/>
            </a:gs>
            <a:gs pos="100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156347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Really epic quote that makes everyone think. 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chemeClr val="accent5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— Quoted Sourc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F788ABC-EB56-3540-ACD0-0052ECA898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4003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tanzani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153857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— Quoted Sourc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DE76E81-A97E-7B4D-A77E-E83B69FED63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926002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156347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— Quoted Sourc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6671E90-76F3-7B4F-B706-92D600C35E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7319597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sla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153857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— Quoted Sourc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B011AB5-E73B-9740-86FF-7F2795FE6E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02800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2000" cy="6153857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93798"/>
            <a:ext cx="9829293" cy="3140613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— Quoted Sourc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D07625-14B4-C54F-8B9E-17760A84ED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696517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stone)">
    <p:bg>
      <p:bgPr>
        <a:gradFill flip="none" rotWithShape="1">
          <a:gsLst>
            <a:gs pos="0">
              <a:srgbClr val="FFFFFF"/>
            </a:gs>
            <a:gs pos="100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372" y="2731711"/>
            <a:ext cx="2054099" cy="1030395"/>
          </a:xfrm>
          <a:prstGeom prst="rect">
            <a:avLst/>
          </a:prstGeom>
        </p:spPr>
      </p:pic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chemeClr val="accent5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all to action goes here</a:t>
            </a: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</a:p>
        </p:txBody>
      </p:sp>
    </p:spTree>
    <p:extLst>
      <p:ext uri="{BB962C8B-B14F-4D97-AF65-F5344CB8AC3E}">
        <p14:creationId xmlns:p14="http://schemas.microsoft.com/office/powerpoint/2010/main" val="5974981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bilities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EBE2BF97-B49A-4BB7-B8FE-F4905D6039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27361" y="2309939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C41E0F9A-E99D-4D2C-82B2-703260DD36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27361" y="3618235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E5E44DD2-BC58-41A6-B0E8-5DB9C0294C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7361" y="4926531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7246733E-ECD8-496E-8A18-2F74EFC945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44649" y="2309939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6420E04E-3174-4B40-AEC5-8AC4D9F58B9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44647" y="3618235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D86540A8-F8A3-438A-A942-53B1B521418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44649" y="4926531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F193FE8C-C33F-43DB-AC66-5D13FACCC1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61937" y="2309939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E81FC632-C10B-497F-85CC-A6B8DE7CAEA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61934" y="3618235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97671B9E-0F16-457B-9207-437911B6C6B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361933" y="4926531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319357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tanzani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373" y="2731712"/>
            <a:ext cx="2054097" cy="1030393"/>
          </a:xfrm>
          <a:prstGeom prst="rect">
            <a:avLst/>
          </a:prstGeom>
        </p:spPr>
      </p:pic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all to action goes he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</a:p>
        </p:txBody>
      </p:sp>
    </p:spTree>
    <p:extLst>
      <p:ext uri="{BB962C8B-B14F-4D97-AF65-F5344CB8AC3E}">
        <p14:creationId xmlns:p14="http://schemas.microsoft.com/office/powerpoint/2010/main" val="3737067572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all to action goes her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15F4983-1B8C-4A45-8669-9A3A379E49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373" y="2731712"/>
            <a:ext cx="2054097" cy="1030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1292537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sla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all to action goes her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3AE7266-D14C-4543-87F4-2761BFA10B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373" y="2731712"/>
            <a:ext cx="2054097" cy="1030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318842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all to action goes her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753FAF8-2463-C64C-894E-D8149EACD8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373" y="2731712"/>
            <a:ext cx="2054097" cy="1030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744661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0E38494-91CD-46FB-B963-CA89C969CA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120126" y="1560576"/>
            <a:ext cx="4363036" cy="4507269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671031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2229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3039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09226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Only w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FE5F67C3-640D-4740-AA2B-707DBF50B79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00200"/>
            <a:ext cx="12192000" cy="52578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47711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1EED1FD-730F-864C-9B0D-E64885C359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0000" r="16533" b="18000"/>
          <a:stretch/>
        </p:blipFill>
        <p:spPr>
          <a:xfrm>
            <a:off x="5861053" y="0"/>
            <a:ext cx="6330948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201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2AF67AE-EF61-694B-B0B0-E29D494D193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3541" y="5966185"/>
            <a:ext cx="2544424" cy="317612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AB72A3-6EB4-474D-B322-F8F326BD8E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FFCA383-5C1A-C544-B88B-81EF000894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5E3AF555-4EF4-AE48-91C1-9E64CC012D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2046879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3FD1B140-E768-9349-BB52-F77A0C5FBD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184565"/>
            <a:ext cx="12192000" cy="5673436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42571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79A4FE8-5BBD-5144-B80B-83166EEC7B1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157641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+ Content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79067" cy="68580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599665" y="366186"/>
            <a:ext cx="5206200" cy="1043020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99665" y="1492712"/>
            <a:ext cx="5206200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6603275" y="2090379"/>
            <a:ext cx="5218192" cy="3837285"/>
          </a:xfrm>
        </p:spPr>
        <p:txBody>
          <a:bodyPr tIns="0" bIns="0">
            <a:noAutofit/>
          </a:bodyPr>
          <a:lstStyle>
            <a:lvl1pPr marL="228594" indent="-228594"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68113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+ Content (des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601365" y="2081998"/>
            <a:ext cx="5218192" cy="3845665"/>
          </a:xfrm>
        </p:spPr>
        <p:txBody>
          <a:bodyPr tIns="0" bIns="0">
            <a:noAutofit/>
          </a:bodyPr>
          <a:lstStyle>
            <a:lvl1pPr marL="0" indent="0">
              <a:buClr>
                <a:schemeClr val="accent5"/>
              </a:buClr>
              <a:buFontTx/>
              <a:buNone/>
              <a:defRPr sz="2667" b="1">
                <a:solidFill>
                  <a:schemeClr val="accent5"/>
                </a:solidFill>
              </a:defRPr>
            </a:lvl1pPr>
            <a:lvl2pPr marL="6351" indent="0">
              <a:buClr>
                <a:schemeClr val="accent5"/>
              </a:buClr>
              <a:buFontTx/>
              <a:buNone/>
              <a:tabLst/>
              <a:defRPr sz="2400">
                <a:solidFill>
                  <a:schemeClr val="tx1"/>
                </a:solidFill>
              </a:defRPr>
            </a:lvl2pPr>
            <a:lvl3pPr marL="914377" indent="0">
              <a:buClr>
                <a:schemeClr val="accent5"/>
              </a:buClr>
              <a:buFontTx/>
              <a:buNone/>
              <a:tabLst/>
              <a:defRPr sz="1867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79067" cy="68580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599665" y="366186"/>
            <a:ext cx="5206200" cy="1043020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99665" y="1492712"/>
            <a:ext cx="5206200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417122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0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78781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778781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 dirty="0"/>
              <a:t>Edit Master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3559560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3559560" y="4267700"/>
            <a:ext cx="2008176" cy="308976"/>
          </a:xfrm>
        </p:spPr>
        <p:txBody>
          <a:bodyPr tIns="0" bIns="0">
            <a:noAutofit/>
          </a:bodyPr>
          <a:lstStyle>
            <a:lvl1pPr marL="0" marR="0" indent="0" algn="ctr" defTabSz="914377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marL="0" marR="0" lvl="0" indent="0" algn="ctr" defTabSz="914377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dirty="0"/>
              <a:t>Edit Master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6348689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6348689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 dirty="0"/>
              <a:t>Edit Master</a:t>
            </a:r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26"/>
          </p:nvPr>
        </p:nvSpPr>
        <p:spPr>
          <a:xfrm>
            <a:off x="9112767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9112767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 dirty="0"/>
              <a:t>Edit Master</a:t>
            </a:r>
          </a:p>
        </p:txBody>
      </p:sp>
      <p:sp>
        <p:nvSpPr>
          <p:cNvPr id="38" name="Text Placeholder 10"/>
          <p:cNvSpPr>
            <a:spLocks noGrp="1"/>
          </p:cNvSpPr>
          <p:nvPr>
            <p:ph type="body" sz="quarter" idx="29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711BB32-EAFA-DA4E-8119-2B26980221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4566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stone)">
    <p:bg>
      <p:bgPr>
        <a:gradFill flip="none" rotWithShape="1">
          <a:gsLst>
            <a:gs pos="9000">
              <a:srgbClr val="FFFFFF"/>
            </a:gs>
            <a:gs pos="94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5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dirty="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23" r="7045"/>
          <a:stretch/>
        </p:blipFill>
        <p:spPr>
          <a:xfrm>
            <a:off x="6305715" y="0"/>
            <a:ext cx="5886285" cy="652037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0CC28EE-BEBC-6140-B0DD-3F5C3616075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0062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tanzani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049" r="18876" b="16150"/>
          <a:stretch/>
        </p:blipFill>
        <p:spPr>
          <a:xfrm>
            <a:off x="6105912" y="-1"/>
            <a:ext cx="6086089" cy="6858001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dirty="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843C757-D843-0641-93EC-0D5F2F785E5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7637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186" t="8450" r="9800" b="9292"/>
          <a:stretch/>
        </p:blipFill>
        <p:spPr>
          <a:xfrm>
            <a:off x="5747845" y="0"/>
            <a:ext cx="644415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dirty="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702F6C4-00AE-8B44-84A8-0ED4D7E14AE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2477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sla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6E2AD53-5E17-4B41-A8A7-94FBFE9BA8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66775" y="477626"/>
            <a:ext cx="3394007" cy="393963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50" t="52082" r="5499" b="16168"/>
          <a:stretch/>
        </p:blipFill>
        <p:spPr>
          <a:xfrm>
            <a:off x="4106333" y="4681293"/>
            <a:ext cx="8085667" cy="2173641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dirty="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Oval 12"/>
          <p:cNvSpPr/>
          <p:nvPr userDrawn="1"/>
        </p:nvSpPr>
        <p:spPr>
          <a:xfrm rot="19240361">
            <a:off x="9599437" y="3824170"/>
            <a:ext cx="449724" cy="449724"/>
          </a:xfrm>
          <a:prstGeom prst="ellipse">
            <a:avLst/>
          </a:prstGeom>
          <a:noFill/>
          <a:ln w="127000">
            <a:gradFill>
              <a:gsLst>
                <a:gs pos="8000">
                  <a:srgbClr val="B6D330"/>
                </a:gs>
                <a:gs pos="100000">
                  <a:schemeClr val="accent1">
                    <a:alpha val="0"/>
                    <a:lumMod val="34000"/>
                    <a:lumOff val="66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6ED38B6-17D7-6940-B802-FAD30A61BA8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4609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dirty="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02" t="2049"/>
          <a:stretch/>
        </p:blipFill>
        <p:spPr>
          <a:xfrm flipH="1">
            <a:off x="6299199" y="1"/>
            <a:ext cx="5892799" cy="65227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8EF8B3B-5429-3B4D-97D6-1A39F73C0AE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8267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sla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5740841-8B5D-9F49-A313-D1C999928C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0000" r="16533" b="18000"/>
          <a:stretch/>
        </p:blipFill>
        <p:spPr>
          <a:xfrm>
            <a:off x="5861053" y="0"/>
            <a:ext cx="6330948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201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0EFE64E-BBB5-C342-84B1-EF6DCAB0D9C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3541" y="5966185"/>
            <a:ext cx="2544424" cy="317612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AE32D41-7FA5-4341-89AA-CC48B27214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8687027B-7413-FF44-BAF4-3AE636CCB0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DB48ED6C-C800-384E-B1CE-B6ADA5D625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3754265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stone)">
    <p:bg>
      <p:bgPr>
        <a:gradFill flip="none" rotWithShape="1">
          <a:gsLst>
            <a:gs pos="0">
              <a:srgbClr val="FFFFFF"/>
            </a:gs>
            <a:gs pos="100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5" t="18294" r="3332"/>
          <a:stretch/>
        </p:blipFill>
        <p:spPr>
          <a:xfrm>
            <a:off x="0" y="0"/>
            <a:ext cx="12192000" cy="6156347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6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chemeClr val="accent5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F788ABC-EB56-3540-ACD0-0052ECA898B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02559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tanzani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56" t="18142" r="3270"/>
          <a:stretch/>
        </p:blipFill>
        <p:spPr>
          <a:xfrm>
            <a:off x="0" y="1"/>
            <a:ext cx="12192000" cy="6153857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DE76E81-A97E-7B4D-A77E-E83B69FED63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70720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5" t="18294" r="3332"/>
          <a:stretch/>
        </p:blipFill>
        <p:spPr>
          <a:xfrm>
            <a:off x="0" y="0"/>
            <a:ext cx="12192000" cy="6156347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6671E90-76F3-7B4F-B706-92D600C35EE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05274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sla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56" t="18142" r="3270"/>
          <a:stretch/>
        </p:blipFill>
        <p:spPr>
          <a:xfrm>
            <a:off x="0" y="1"/>
            <a:ext cx="12192000" cy="6153857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B011AB5-E73B-9740-86FF-7F2795FE6E8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23113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8" t="18056" r="3162"/>
          <a:stretch/>
        </p:blipFill>
        <p:spPr>
          <a:xfrm>
            <a:off x="1" y="1"/>
            <a:ext cx="12192000" cy="6153857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93798"/>
            <a:ext cx="9829293" cy="3140613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D07625-14B4-C54F-8B9E-17760A84ED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36654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stone)">
    <p:bg>
      <p:bgPr>
        <a:gradFill flip="none" rotWithShape="1">
          <a:gsLst>
            <a:gs pos="0">
              <a:srgbClr val="FFFFFF"/>
            </a:gs>
            <a:gs pos="100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53372" y="2731711"/>
            <a:ext cx="2054099" cy="1030395"/>
          </a:xfrm>
          <a:prstGeom prst="rect">
            <a:avLst/>
          </a:prstGeom>
        </p:spPr>
      </p:pic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chemeClr val="accent5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all to action goes here</a:t>
            </a: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40070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tanzani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53373" y="2731712"/>
            <a:ext cx="2054097" cy="1030393"/>
          </a:xfrm>
          <a:prstGeom prst="rect">
            <a:avLst/>
          </a:prstGeom>
        </p:spPr>
      </p:pic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all to action goes he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70354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all to action goes her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15F4983-1B8C-4A45-8669-9A3A379E49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53373" y="2731712"/>
            <a:ext cx="2054097" cy="1030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63878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sla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all to action goes her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3AE7266-D14C-4543-87F4-2761BFA10B2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53373" y="2731712"/>
            <a:ext cx="2054097" cy="1030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3368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all to action goes her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753FAF8-2463-C64C-894E-D8149EACD8B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53373" y="2731712"/>
            <a:ext cx="2054097" cy="1030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1537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4B55263-0329-4A4A-8B58-4054370B80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0000" r="16533" b="18000"/>
          <a:stretch/>
        </p:blipFill>
        <p:spPr>
          <a:xfrm>
            <a:off x="5861053" y="0"/>
            <a:ext cx="6330948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201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CDD4BCB-C1A0-684F-AD5C-AFB764B0EEE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3541" y="5966185"/>
            <a:ext cx="2544424" cy="317612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E0009BB-3A08-BF44-BE29-14EA0B2392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198682A-8167-AE41-9310-DB53A69F88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9FD7D2-C014-D946-B37E-0EA202207D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2592634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ex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ircles_LeftandRight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pic>
        <p:nvPicPr>
          <p:cNvPr id="10" name="Picture 9" descr="Circles_LeftandRight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44319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200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Main headline here</a:t>
            </a:r>
          </a:p>
        </p:txBody>
      </p:sp>
      <p:pic>
        <p:nvPicPr>
          <p:cNvPr id="11" name="Picture 10" descr="QlikLogo-RGB-PPT.png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95642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ext B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ircles_LeftandRight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pic>
        <p:nvPicPr>
          <p:cNvPr id="10" name="Picture 9" descr="Circles_LeftandRight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44319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200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Main headline her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507073" y="1027721"/>
            <a:ext cx="9177868" cy="43675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2667" b="0" baseline="0">
                <a:solidFill>
                  <a:schemeClr val="tx2"/>
                </a:solidFill>
              </a:defRPr>
            </a:lvl1pPr>
            <a:lvl2pPr marL="609585" indent="0">
              <a:buNone/>
              <a:defRPr sz="2667" b="1">
                <a:solidFill>
                  <a:srgbClr val="8C8C8C"/>
                </a:solidFill>
              </a:defRPr>
            </a:lvl2pPr>
            <a:lvl3pPr marL="1219170" indent="0">
              <a:buNone/>
              <a:defRPr sz="2667" b="1">
                <a:solidFill>
                  <a:srgbClr val="8C8C8C"/>
                </a:solidFill>
              </a:defRPr>
            </a:lvl3pPr>
            <a:lvl4pPr marL="1828754" indent="0">
              <a:buNone/>
              <a:defRPr sz="2667" b="1">
                <a:solidFill>
                  <a:srgbClr val="8C8C8C"/>
                </a:solidFill>
              </a:defRPr>
            </a:lvl4pPr>
            <a:lvl5pPr marL="2438339" indent="0">
              <a:buNone/>
              <a:defRPr sz="2667" b="1">
                <a:solidFill>
                  <a:srgbClr val="8C8C8C"/>
                </a:solidFill>
              </a:defRPr>
            </a:lvl5pPr>
          </a:lstStyle>
          <a:p>
            <a:pPr lvl="0"/>
            <a:r>
              <a:rPr lang="en-US" dirty="0"/>
              <a:t>Optional centered subhead section</a:t>
            </a:r>
          </a:p>
        </p:txBody>
      </p:sp>
      <p:pic>
        <p:nvPicPr>
          <p:cNvPr id="14" name="Picture 13" descr="QlikLogo-RGB-PPT.png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40003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3 - Capability (no 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2" y="1560577"/>
            <a:ext cx="4608285" cy="4507268"/>
          </a:xfrm>
        </p:spPr>
        <p:txBody>
          <a:bodyPr tIns="0" bIns="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600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4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FBCE54C-DF38-4013-AC73-D2B4342239D1}"/>
              </a:ext>
            </a:extLst>
          </p:cNvPr>
          <p:cNvCxnSpPr>
            <a:cxnSpLocks/>
          </p:cNvCxnSpPr>
          <p:nvPr userDrawn="1"/>
        </p:nvCxnSpPr>
        <p:spPr>
          <a:xfrm>
            <a:off x="5657712" y="1560577"/>
            <a:ext cx="0" cy="4507268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FAA24C10-55E4-4644-B49F-0CF66429B5EA}"/>
              </a:ext>
            </a:extLst>
          </p:cNvPr>
          <p:cNvSpPr txBox="1"/>
          <p:nvPr userDrawn="1"/>
        </p:nvSpPr>
        <p:spPr>
          <a:xfrm>
            <a:off x="9952207" y="6370362"/>
            <a:ext cx="145776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666666"/>
              </a:buClr>
            </a:pPr>
            <a:r>
              <a:rPr lang="de-DE" sz="1067" dirty="0">
                <a:solidFill>
                  <a:srgbClr val="8C8C8C"/>
                </a:solidFill>
                <a:latin typeface="Arial"/>
                <a:ea typeface="+mn-ea"/>
                <a:cs typeface="+mn-cs"/>
              </a:rPr>
              <a:t>Nov, 2018</a:t>
            </a:r>
          </a:p>
        </p:txBody>
      </p:sp>
    </p:spTree>
    <p:extLst>
      <p:ext uri="{BB962C8B-B14F-4D97-AF65-F5344CB8AC3E}">
        <p14:creationId xmlns:p14="http://schemas.microsoft.com/office/powerpoint/2010/main" val="53841149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ext B No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ircles_LeftandRight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pic>
        <p:nvPicPr>
          <p:cNvPr id="10" name="Picture 9" descr="Circles_LeftandRight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5" name="Picture 4" descr="QlikLogo-RGB-PPT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44319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200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Main headline her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3" name="Picture 12" descr="QlikLogo-RGB-PPT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D1193FA-7BFC-4D4F-9380-87AC9C679F9F}"/>
              </a:ext>
            </a:extLst>
          </p:cNvPr>
          <p:cNvSpPr txBox="1"/>
          <p:nvPr userDrawn="1"/>
        </p:nvSpPr>
        <p:spPr>
          <a:xfrm>
            <a:off x="9952207" y="6471965"/>
            <a:ext cx="145776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666666"/>
              </a:buClr>
            </a:pPr>
            <a:r>
              <a:rPr lang="de-DE" sz="1067" dirty="0">
                <a:solidFill>
                  <a:srgbClr val="8C8C8C"/>
                </a:solidFill>
              </a:rPr>
              <a:t>January, 2018</a:t>
            </a:r>
          </a:p>
        </p:txBody>
      </p:sp>
    </p:spTree>
    <p:extLst>
      <p:ext uri="{BB962C8B-B14F-4D97-AF65-F5344CB8AC3E}">
        <p14:creationId xmlns:p14="http://schemas.microsoft.com/office/powerpoint/2010/main" val="147503695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Qlik_L01_PPT_-06.jpg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252" b="-5676"/>
          <a:stretch/>
        </p:blipFill>
        <p:spPr>
          <a:xfrm>
            <a:off x="10667837" y="-1"/>
            <a:ext cx="1524163" cy="1501423"/>
          </a:xfrm>
          <a:prstGeom prst="rect">
            <a:avLst/>
          </a:prstGeom>
        </p:spPr>
      </p:pic>
      <p:pic>
        <p:nvPicPr>
          <p:cNvPr id="4" name="Picture 3" descr="Circles_LeftandRight.jp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44319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200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Main headline here</a:t>
            </a:r>
          </a:p>
        </p:txBody>
      </p:sp>
      <p:pic>
        <p:nvPicPr>
          <p:cNvPr id="7" name="Picture 6" descr="QlikLogo-RGB-PPT.png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2392837"/>
      </p:ext>
    </p:extLst>
  </p:cSld>
  <p:clrMapOvr>
    <a:masterClrMapping/>
  </p:clrMapOvr>
  <p:hf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ircles_LeftandRight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56357" y="1540677"/>
            <a:ext cx="5762300" cy="47550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600"/>
              </a:spcAft>
              <a:buFont typeface="+mj-lt"/>
              <a:buAutoNum type="arabicPeriod"/>
              <a:defRPr sz="2133"/>
            </a:lvl1pPr>
            <a:lvl2pPr>
              <a:spcBef>
                <a:spcPts val="0"/>
              </a:spcBef>
              <a:spcAft>
                <a:spcPts val="600"/>
              </a:spcAft>
              <a:defRPr sz="1867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</a:lstStyle>
          <a:p>
            <a:pPr lvl="0"/>
            <a:r>
              <a:rPr lang="en-US" dirty="0"/>
              <a:t>Insert Goals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44319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200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Main headline here</a:t>
            </a:r>
          </a:p>
        </p:txBody>
      </p:sp>
      <p:pic>
        <p:nvPicPr>
          <p:cNvPr id="6" name="Picture 5" descr="QlikLogo-RGB-PPT.png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4570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x3 L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ircles_LeftandRight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pic>
        <p:nvPicPr>
          <p:cNvPr id="10" name="Picture 9" descr="Circles_LeftandRight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44319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200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Main headline her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507073" y="1027721"/>
            <a:ext cx="9177868" cy="43675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2667" b="0" baseline="0">
                <a:solidFill>
                  <a:schemeClr val="tx2"/>
                </a:solidFill>
              </a:defRPr>
            </a:lvl1pPr>
            <a:lvl2pPr marL="609585" indent="0">
              <a:buNone/>
              <a:defRPr sz="2667" b="1">
                <a:solidFill>
                  <a:srgbClr val="8C8C8C"/>
                </a:solidFill>
              </a:defRPr>
            </a:lvl2pPr>
            <a:lvl3pPr marL="1219170" indent="0">
              <a:buNone/>
              <a:defRPr sz="2667" b="1">
                <a:solidFill>
                  <a:srgbClr val="8C8C8C"/>
                </a:solidFill>
              </a:defRPr>
            </a:lvl3pPr>
            <a:lvl4pPr marL="1828754" indent="0">
              <a:buNone/>
              <a:defRPr sz="2667" b="1">
                <a:solidFill>
                  <a:srgbClr val="8C8C8C"/>
                </a:solidFill>
              </a:defRPr>
            </a:lvl4pPr>
            <a:lvl5pPr marL="2438339" indent="0">
              <a:buNone/>
              <a:defRPr sz="2667" b="1">
                <a:solidFill>
                  <a:srgbClr val="8C8C8C"/>
                </a:solidFill>
              </a:defRPr>
            </a:lvl5pPr>
          </a:lstStyle>
          <a:p>
            <a:pPr lvl="0"/>
            <a:r>
              <a:rPr lang="en-US" dirty="0"/>
              <a:t>Optional centered subhead section</a:t>
            </a:r>
          </a:p>
        </p:txBody>
      </p:sp>
      <p:pic>
        <p:nvPicPr>
          <p:cNvPr id="11" name="Picture 10" descr="QlikLogo-RGB-PPT.png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103508" y="1857097"/>
            <a:ext cx="0" cy="4723559"/>
          </a:xfrm>
          <a:prstGeom prst="line">
            <a:avLst/>
          </a:prstGeom>
          <a:ln w="952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756357" y="1907897"/>
            <a:ext cx="3998524" cy="46727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spcBef>
                <a:spcPts val="1600"/>
              </a:spcBef>
              <a:buNone/>
              <a:defRPr sz="1333" baseline="0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Value Proposition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7553358" y="4472480"/>
            <a:ext cx="4040717" cy="19286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800"/>
              </a:spcBef>
              <a:buNone/>
              <a:defRPr sz="1600"/>
            </a:lvl1pPr>
          </a:lstStyle>
          <a:p>
            <a:pPr lvl="0"/>
            <a:r>
              <a:rPr lang="en-US" dirty="0"/>
              <a:t>Customer Quote</a:t>
            </a:r>
          </a:p>
        </p:txBody>
      </p:sp>
    </p:spTree>
    <p:extLst>
      <p:ext uri="{BB962C8B-B14F-4D97-AF65-F5344CB8AC3E}">
        <p14:creationId xmlns:p14="http://schemas.microsoft.com/office/powerpoint/2010/main" val="96426083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5" y="366188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20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5" y="1050469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6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32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498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66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9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65198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0945" y="365125"/>
            <a:ext cx="11610110" cy="662781"/>
          </a:xfrm>
          <a:prstGeom prst="rect">
            <a:avLst/>
          </a:prstGeom>
        </p:spPr>
        <p:txBody>
          <a:bodyPr/>
          <a:lstStyle>
            <a:lvl1pPr algn="ctr">
              <a:defRPr sz="36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ource</a:t>
            </a:r>
          </a:p>
        </p:txBody>
      </p:sp>
      <p:pic>
        <p:nvPicPr>
          <p:cNvPr id="4" name="Picture 3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0031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90945" y="5029200"/>
            <a:ext cx="12192000" cy="1828800"/>
          </a:xfrm>
          <a:prstGeom prst="rect">
            <a:avLst/>
          </a:prstGeom>
          <a:gradFill flip="none" rotWithShape="1">
            <a:gsLst>
              <a:gs pos="80000">
                <a:schemeClr val="accent6">
                  <a:alpha val="0"/>
                </a:schemeClr>
              </a:gs>
              <a:gs pos="0">
                <a:schemeClr val="accent6">
                  <a:lumMod val="75000"/>
                  <a:alpha val="72000"/>
                </a:schemeClr>
              </a:gs>
            </a:gsLst>
            <a:path path="rect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90945" y="365125"/>
            <a:ext cx="11610110" cy="662781"/>
          </a:xfrm>
          <a:prstGeom prst="rect">
            <a:avLst/>
          </a:prstGeom>
        </p:spPr>
        <p:txBody>
          <a:bodyPr/>
          <a:lstStyle>
            <a:lvl1pPr algn="ctr">
              <a:defRPr sz="3600" b="0" i="0">
                <a:solidFill>
                  <a:schemeClr val="bg1">
                    <a:lumMod val="9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425" y="6478622"/>
            <a:ext cx="587375" cy="191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0389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ston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0990" indent="-222245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20000"/>
                  <a:lumOff val="80000"/>
                </a:schemeClr>
              </a:gs>
              <a:gs pos="100000">
                <a:srgbClr val="FFFFFF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4673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>
                <a:solidFill>
                  <a:prstClr val="black"/>
                </a:solidFill>
              </a:rPr>
              <a:pPr/>
              <a:t>10/25/202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4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35451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88080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No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75407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ource</a:t>
            </a:r>
          </a:p>
        </p:txBody>
      </p:sp>
      <p:pic>
        <p:nvPicPr>
          <p:cNvPr id="4" name="Picture 3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  <p:sp>
        <p:nvSpPr>
          <p:cNvPr id="9" name="Media Placeholder 8"/>
          <p:cNvSpPr>
            <a:spLocks noGrp="1"/>
          </p:cNvSpPr>
          <p:nvPr>
            <p:ph type="media" sz="quarter" idx="11" hasCustomPrompt="1"/>
          </p:nvPr>
        </p:nvSpPr>
        <p:spPr>
          <a:xfrm>
            <a:off x="2455371" y="683836"/>
            <a:ext cx="7303484" cy="4139518"/>
          </a:xfrm>
          <a:prstGeom prst="rect">
            <a:avLst/>
          </a:prstGeom>
        </p:spPr>
        <p:txBody>
          <a:bodyPr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800" b="0" i="0" smtClean="0">
                <a:effectLst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The proper video format is .mp4 files encoded with H.264 video (a.k.a. MPEG-4 AVC) and AAC audio.</a:t>
            </a:r>
            <a:br>
              <a:rPr lang="en-US" dirty="0"/>
            </a:br>
            <a:r>
              <a:rPr lang="en-US" dirty="0"/>
              <a:t>Please keep file sizes as low as possible, use compression software if necessary.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40"/>
          <a:stretch/>
        </p:blipFill>
        <p:spPr>
          <a:xfrm>
            <a:off x="1108841" y="254395"/>
            <a:ext cx="9974318" cy="672973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0496777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FutureT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ource</a:t>
            </a:r>
          </a:p>
        </p:txBody>
      </p:sp>
      <p:pic>
        <p:nvPicPr>
          <p:cNvPr id="4" name="Picture 3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  <p:sp>
        <p:nvSpPr>
          <p:cNvPr id="9" name="Media Placeholder 8"/>
          <p:cNvSpPr>
            <a:spLocks noGrp="1"/>
          </p:cNvSpPr>
          <p:nvPr>
            <p:ph type="media" sz="quarter" idx="11" hasCustomPrompt="1"/>
          </p:nvPr>
        </p:nvSpPr>
        <p:spPr>
          <a:xfrm>
            <a:off x="2455371" y="683836"/>
            <a:ext cx="7303484" cy="4139518"/>
          </a:xfrm>
          <a:prstGeom prst="rect">
            <a:avLst/>
          </a:prstGeom>
        </p:spPr>
        <p:txBody>
          <a:bodyPr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800" b="0" i="0" smtClean="0">
                <a:effectLst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The proper video format is .mp4 files encoded with H.264 video (a.k.a. MPEG-4 AVC) and AAC audio.</a:t>
            </a:r>
            <a:br>
              <a:rPr lang="en-US" dirty="0"/>
            </a:br>
            <a:r>
              <a:rPr lang="en-US" dirty="0"/>
              <a:t>Please keep file sizes as low as possible, use compression software if necessary.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10310722" y="4746"/>
            <a:ext cx="1900734" cy="1509403"/>
            <a:chOff x="10310722" y="4746"/>
            <a:chExt cx="1900734" cy="1509403"/>
          </a:xfrm>
        </p:grpSpPr>
        <p:sp>
          <p:nvSpPr>
            <p:cNvPr id="6" name="Right Triangle 5"/>
            <p:cNvSpPr/>
            <p:nvPr/>
          </p:nvSpPr>
          <p:spPr>
            <a:xfrm rot="10800000">
              <a:off x="10310722" y="4746"/>
              <a:ext cx="1881286" cy="1509403"/>
            </a:xfrm>
            <a:prstGeom prst="rtTriangle">
              <a:avLst/>
            </a:prstGeom>
            <a:gradFill>
              <a:gsLst>
                <a:gs pos="0">
                  <a:srgbClr val="B3D418"/>
                </a:gs>
                <a:gs pos="54000">
                  <a:srgbClr val="6FB734"/>
                </a:gs>
              </a:gsLst>
              <a:lin ang="18600000" scaled="0"/>
            </a:gradFill>
            <a:ln w="317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solidFill>
                  <a:prstClr val="white"/>
                </a:solidFill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10943176" y="254395"/>
              <a:ext cx="1268280" cy="276999"/>
            </a:xfrm>
            <a:prstGeom prst="rect">
              <a:avLst/>
            </a:prstGeom>
            <a:noFill/>
            <a:effectLst>
              <a:softEdge rad="0"/>
            </a:effectLst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pt-BR" b="1" dirty="0">
                  <a:solidFill>
                    <a:prstClr val="white"/>
                  </a:solidFill>
                </a:rPr>
                <a:t>FUTURO</a:t>
              </a:r>
            </a:p>
          </p:txBody>
        </p:sp>
        <p:sp>
          <p:nvSpPr>
            <p:cNvPr id="10" name="Right Triangle 9"/>
            <p:cNvSpPr/>
            <p:nvPr/>
          </p:nvSpPr>
          <p:spPr>
            <a:xfrm rot="10800000">
              <a:off x="10310722" y="4746"/>
              <a:ext cx="1881286" cy="1509403"/>
            </a:xfrm>
            <a:prstGeom prst="rtTriangle">
              <a:avLst/>
            </a:prstGeom>
            <a:gradFill>
              <a:gsLst>
                <a:gs pos="53000">
                  <a:srgbClr val="000000">
                    <a:alpha val="30000"/>
                  </a:srgbClr>
                </a:gs>
                <a:gs pos="42000">
                  <a:schemeClr val="tx1">
                    <a:alpha val="0"/>
                    <a:lumMod val="65000"/>
                    <a:lumOff val="35000"/>
                  </a:schemeClr>
                </a:gs>
              </a:gsLst>
              <a:lin ang="18600000" scaled="0"/>
            </a:gradFill>
            <a:ln w="31750">
              <a:noFill/>
            </a:ln>
            <a:effectLst>
              <a:outerShdw blurRad="228600" dist="165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solidFill>
                  <a:prstClr val="white"/>
                </a:solidFill>
              </a:endParaRPr>
            </a:p>
          </p:txBody>
        </p:sp>
      </p:grp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40"/>
          <a:stretch/>
        </p:blipFill>
        <p:spPr>
          <a:xfrm>
            <a:off x="1108841" y="254395"/>
            <a:ext cx="9974318" cy="672973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1869203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4791" y="1122363"/>
            <a:ext cx="10342418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24791" y="3602038"/>
            <a:ext cx="10342418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24791" y="6356350"/>
            <a:ext cx="3102726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F7A77EC6-0E89-1345-9389-7BE421A90930}" type="datetimeFigureOut">
              <a:rPr lang="en-US" smtClean="0">
                <a:solidFill>
                  <a:prstClr val="black"/>
                </a:solidFill>
              </a:rPr>
              <a:pPr/>
              <a:t>10/25/202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5310" y="6356350"/>
            <a:ext cx="465408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97191" y="6356350"/>
            <a:ext cx="3102726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A1280B0A-780C-4C4C-AB79-CA8957A8D3E4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7" name="Picture 6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64503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>
                <a:solidFill>
                  <a:prstClr val="black"/>
                </a:solidFill>
              </a:rPr>
              <a:pPr/>
              <a:t>10/25/202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7" name="Picture 6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35876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>
                <a:solidFill>
                  <a:prstClr val="black"/>
                </a:solidFill>
              </a:rPr>
              <a:pPr/>
              <a:t>10/25/202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7" name="Picture 6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63360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>
                <a:solidFill>
                  <a:prstClr val="black"/>
                </a:solidFill>
              </a:rPr>
              <a:pPr/>
              <a:t>10/25/202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7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64014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>
                <a:solidFill>
                  <a:prstClr val="black"/>
                </a:solidFill>
              </a:rPr>
              <a:pPr/>
              <a:t>10/25/202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90945" y="365125"/>
            <a:ext cx="11610110" cy="1325563"/>
          </a:xfrm>
          <a:prstGeom prst="rect">
            <a:avLst/>
          </a:prstGeom>
        </p:spPr>
        <p:txBody>
          <a:bodyPr/>
          <a:lstStyle>
            <a:lvl1pPr algn="ctr">
              <a:defRPr sz="36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7363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tanzanit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0990" indent="-222245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9230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>
                <a:solidFill>
                  <a:prstClr val="black"/>
                </a:solidFill>
              </a:rPr>
              <a:pPr/>
              <a:t>10/25/202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7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5406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>
                <a:solidFill>
                  <a:prstClr val="black"/>
                </a:solidFill>
              </a:rPr>
              <a:pPr/>
              <a:t>10/25/202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7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45744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>
                <a:solidFill>
                  <a:prstClr val="black"/>
                </a:solidFill>
              </a:rPr>
              <a:pPr/>
              <a:t>10/25/202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7" name="Picture 6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65197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>
                <a:solidFill>
                  <a:prstClr val="black"/>
                </a:solidFill>
              </a:rPr>
              <a:pPr/>
              <a:t>10/25/202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7" name="Picture 6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87285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Qlik_L01_PPT_-06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079" t="14647" r="4079" b="-4845"/>
          <a:stretch/>
        </p:blipFill>
        <p:spPr>
          <a:xfrm>
            <a:off x="10667837" y="-1"/>
            <a:ext cx="1524163" cy="1501423"/>
          </a:xfrm>
          <a:prstGeom prst="rect">
            <a:avLst/>
          </a:prstGeom>
        </p:spPr>
      </p:pic>
      <p:pic>
        <p:nvPicPr>
          <p:cNvPr id="4" name="Picture 3" descr="Circles_LeftandRight.jpg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pic>
        <p:nvPicPr>
          <p:cNvPr id="6" name="Picture 5" descr="QlikLogo-RGB-PPT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574516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733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Main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31175843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0945" y="365125"/>
            <a:ext cx="11610110" cy="662781"/>
          </a:xfrm>
          <a:prstGeom prst="rect">
            <a:avLst/>
          </a:prstGeom>
        </p:spPr>
        <p:txBody>
          <a:bodyPr/>
          <a:lstStyle>
            <a:lvl1pPr algn="ctr">
              <a:defRPr sz="36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565656">
                    <a:tint val="75000"/>
                  </a:srgbClr>
                </a:solidFill>
              </a:rPr>
              <a:t>Source</a:t>
            </a:r>
            <a:endParaRPr lang="en-US" dirty="0">
              <a:solidFill>
                <a:srgbClr val="565656">
                  <a:tint val="75000"/>
                </a:srgbClr>
              </a:solidFill>
            </a:endParaRPr>
          </a:p>
        </p:txBody>
      </p:sp>
      <p:pic>
        <p:nvPicPr>
          <p:cNvPr id="4" name="Picture 3" descr="QlikLogo-RGB-PPT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33793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 smtClean="0">
                <a:solidFill>
                  <a:srgbClr val="565656"/>
                </a:solidFill>
              </a:rPr>
              <a:pPr/>
              <a:t>10/25/2023</a:t>
            </a:fld>
            <a:endParaRPr lang="en-US">
              <a:solidFill>
                <a:srgbClr val="565656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65656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 smtClean="0">
                <a:solidFill>
                  <a:srgbClr val="565656"/>
                </a:solidFill>
              </a:rPr>
              <a:pPr/>
              <a:t>‹nº›</a:t>
            </a:fld>
            <a:endParaRPr lang="en-US">
              <a:solidFill>
                <a:srgbClr val="565656"/>
              </a:solidFill>
            </a:endParaRPr>
          </a:p>
        </p:txBody>
      </p:sp>
      <p:pic>
        <p:nvPicPr>
          <p:cNvPr id="5" name="Picture 4" descr="QlikLogo-RGB-PPT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669681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EX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Qlik_L01_PPT_-06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252" b="-5676"/>
          <a:stretch/>
        </p:blipFill>
        <p:spPr>
          <a:xfrm>
            <a:off x="10667837" y="-1"/>
            <a:ext cx="1524163" cy="1501423"/>
          </a:xfrm>
          <a:prstGeom prst="rect">
            <a:avLst/>
          </a:prstGeom>
        </p:spPr>
      </p:pic>
      <p:pic>
        <p:nvPicPr>
          <p:cNvPr id="4" name="Picture 3" descr="Circles_LeftandRight.jpg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rgbClr val="797979">
                    <a:lumMod val="60000"/>
                    <a:lumOff val="40000"/>
                  </a:srgbClr>
                </a:solidFill>
              </a:rPr>
              <a:pPr algn="r"/>
              <a:t>‹nº›</a:t>
            </a:fld>
            <a:endParaRPr lang="en-US" sz="1133" dirty="0">
              <a:solidFill>
                <a:srgbClr val="797979">
                  <a:lumMod val="60000"/>
                  <a:lumOff val="40000"/>
                </a:srgbClr>
              </a:solidFill>
            </a:endParaRPr>
          </a:p>
        </p:txBody>
      </p:sp>
      <p:pic>
        <p:nvPicPr>
          <p:cNvPr id="6" name="Picture 5" descr="QlikLogo-RGB-PPT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17600" y="1660800"/>
            <a:ext cx="10281601" cy="276998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43834" indent="-243834">
              <a:lnSpc>
                <a:spcPct val="11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2400" b="0" baseline="0">
                <a:solidFill>
                  <a:schemeClr val="tx2"/>
                </a:solidFill>
              </a:defRPr>
            </a:lvl1pPr>
            <a:lvl2pPr marL="243834" indent="-243834">
              <a:buClr>
                <a:schemeClr val="accent1"/>
              </a:buClr>
              <a:buFont typeface="Arial" panose="020B0604020202020204" pitchFamily="34" charset="0"/>
              <a:buChar char="•"/>
              <a:defRPr sz="2400" b="0">
                <a:solidFill>
                  <a:schemeClr val="tx2"/>
                </a:solidFill>
              </a:defRPr>
            </a:lvl2pPr>
            <a:lvl3pPr marL="609585" indent="-243834">
              <a:buClr>
                <a:schemeClr val="accent1"/>
              </a:buClr>
              <a:buSzPct val="80000"/>
              <a:buFont typeface="Arial" panose="020B0604020202020204" pitchFamily="34" charset="0"/>
              <a:buChar char="─"/>
              <a:defRPr sz="2133" b="0" baseline="0">
                <a:solidFill>
                  <a:schemeClr val="tx2"/>
                </a:solidFill>
              </a:defRPr>
            </a:lvl3pPr>
            <a:lvl4pPr marL="853419" marR="0" indent="-24383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867" b="0" baseline="0">
                <a:solidFill>
                  <a:schemeClr val="tx2"/>
                </a:solidFill>
              </a:defRPr>
            </a:lvl4pPr>
            <a:lvl5pPr marL="2438339" indent="0">
              <a:buNone/>
              <a:defRPr sz="2667" b="1">
                <a:solidFill>
                  <a:srgbClr val="8C8C8C"/>
                </a:solidFill>
              </a:defRPr>
            </a:lvl5pPr>
          </a:lstStyle>
          <a:p>
            <a:pPr lvl="0"/>
            <a:r>
              <a:rPr lang="en-US" dirty="0"/>
              <a:t>Title for bulleted list</a:t>
            </a:r>
          </a:p>
          <a:p>
            <a:pPr lvl="1"/>
            <a:r>
              <a:rPr lang="en-US" dirty="0"/>
              <a:t>Bullet #1 replace text and insert your own here</a:t>
            </a:r>
          </a:p>
          <a:p>
            <a:pPr lvl="1"/>
            <a:r>
              <a:rPr lang="en-US" dirty="0"/>
              <a:t>Bullet #2 replace text and insert your own here and insert your own </a:t>
            </a:r>
          </a:p>
          <a:p>
            <a:pPr lvl="2"/>
            <a:r>
              <a:rPr lang="en-US" dirty="0"/>
              <a:t>Sub bullet #1 style insert your own text here</a:t>
            </a:r>
          </a:p>
          <a:p>
            <a:pPr lvl="2"/>
            <a:r>
              <a:rPr lang="en-US" dirty="0"/>
              <a:t>Sub bullet #2 style insert your own text here insert your own text here</a:t>
            </a:r>
          </a:p>
          <a:p>
            <a:pPr lvl="3"/>
            <a:r>
              <a:rPr lang="en-US" dirty="0"/>
              <a:t>List bullet #1 style insert your own text here insert your own text here</a:t>
            </a:r>
          </a:p>
          <a:p>
            <a:pPr lvl="3"/>
            <a:r>
              <a:rPr lang="en-US" dirty="0"/>
              <a:t>List bullet #2 style insert your own text her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574516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733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Main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50940465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0945" y="365125"/>
            <a:ext cx="11610110" cy="662781"/>
          </a:xfrm>
          <a:prstGeom prst="rect">
            <a:avLst/>
          </a:prstGeom>
        </p:spPr>
        <p:txBody>
          <a:bodyPr/>
          <a:lstStyle>
            <a:lvl1pPr algn="ctr">
              <a:defRPr sz="36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65656">
                    <a:tint val="75000"/>
                  </a:srgbClr>
                </a:solidFill>
              </a:rPr>
              <a:t>Source</a:t>
            </a:r>
          </a:p>
        </p:txBody>
      </p:sp>
      <p:pic>
        <p:nvPicPr>
          <p:cNvPr id="4" name="Picture 3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50863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90945" y="5029200"/>
            <a:ext cx="12192000" cy="1828800"/>
          </a:xfrm>
          <a:prstGeom prst="rect">
            <a:avLst/>
          </a:prstGeom>
          <a:gradFill flip="none" rotWithShape="1">
            <a:gsLst>
              <a:gs pos="80000">
                <a:schemeClr val="accent6">
                  <a:alpha val="0"/>
                </a:schemeClr>
              </a:gs>
              <a:gs pos="0">
                <a:schemeClr val="accent6">
                  <a:lumMod val="75000"/>
                  <a:alpha val="72000"/>
                </a:schemeClr>
              </a:gs>
            </a:gsLst>
            <a:path path="rect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90945" y="365125"/>
            <a:ext cx="11610110" cy="662781"/>
          </a:xfrm>
          <a:prstGeom prst="rect">
            <a:avLst/>
          </a:prstGeom>
        </p:spPr>
        <p:txBody>
          <a:bodyPr/>
          <a:lstStyle>
            <a:lvl1pPr algn="ctr">
              <a:defRPr sz="3600" b="0" i="0">
                <a:solidFill>
                  <a:schemeClr val="bg1">
                    <a:lumMod val="9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425" y="6478622"/>
            <a:ext cx="587375" cy="191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72632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turquois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0990" indent="-222245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18352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 smtClean="0">
                <a:solidFill>
                  <a:srgbClr val="565656"/>
                </a:solidFill>
              </a:rPr>
              <a:pPr/>
              <a:t>10/25/2023</a:t>
            </a:fld>
            <a:endParaRPr lang="en-US" dirty="0">
              <a:solidFill>
                <a:srgbClr val="565656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65656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 smtClean="0">
                <a:solidFill>
                  <a:srgbClr val="565656"/>
                </a:solidFill>
              </a:rPr>
              <a:pPr/>
              <a:t>‹nº›</a:t>
            </a:fld>
            <a:endParaRPr lang="en-US" dirty="0">
              <a:solidFill>
                <a:srgbClr val="565656"/>
              </a:solidFill>
            </a:endParaRPr>
          </a:p>
        </p:txBody>
      </p:sp>
      <p:pic>
        <p:nvPicPr>
          <p:cNvPr id="5" name="Picture 4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49210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27690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No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04533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65656">
                    <a:tint val="75000"/>
                  </a:srgbClr>
                </a:solidFill>
              </a:rPr>
              <a:t>Source</a:t>
            </a:r>
          </a:p>
        </p:txBody>
      </p:sp>
      <p:pic>
        <p:nvPicPr>
          <p:cNvPr id="4" name="Picture 3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  <p:sp>
        <p:nvSpPr>
          <p:cNvPr id="9" name="Media Placeholder 8"/>
          <p:cNvSpPr>
            <a:spLocks noGrp="1"/>
          </p:cNvSpPr>
          <p:nvPr>
            <p:ph type="media" sz="quarter" idx="11" hasCustomPrompt="1"/>
          </p:nvPr>
        </p:nvSpPr>
        <p:spPr>
          <a:xfrm>
            <a:off x="2455371" y="683836"/>
            <a:ext cx="7303484" cy="4139518"/>
          </a:xfrm>
          <a:prstGeom prst="rect">
            <a:avLst/>
          </a:prstGeom>
        </p:spPr>
        <p:txBody>
          <a:bodyPr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800" b="0" i="0" smtClean="0">
                <a:effectLst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The proper video format is .mp4 files encoded with H.264 video (a.k.a. MPEG-4 AVC) and AAC audio.</a:t>
            </a:r>
            <a:br>
              <a:rPr lang="en-US" dirty="0"/>
            </a:br>
            <a:r>
              <a:rPr lang="en-US" dirty="0"/>
              <a:t>Please keep file sizes as low as possible, use compression software if necessary.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40"/>
          <a:stretch/>
        </p:blipFill>
        <p:spPr>
          <a:xfrm>
            <a:off x="1108841" y="254395"/>
            <a:ext cx="9974318" cy="672973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503982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FutureT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65656">
                    <a:tint val="75000"/>
                  </a:srgbClr>
                </a:solidFill>
              </a:rPr>
              <a:t>Source</a:t>
            </a:r>
          </a:p>
        </p:txBody>
      </p:sp>
      <p:pic>
        <p:nvPicPr>
          <p:cNvPr id="4" name="Picture 3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  <p:sp>
        <p:nvSpPr>
          <p:cNvPr id="9" name="Media Placeholder 8"/>
          <p:cNvSpPr>
            <a:spLocks noGrp="1"/>
          </p:cNvSpPr>
          <p:nvPr>
            <p:ph type="media" sz="quarter" idx="11" hasCustomPrompt="1"/>
          </p:nvPr>
        </p:nvSpPr>
        <p:spPr>
          <a:xfrm>
            <a:off x="2455371" y="683836"/>
            <a:ext cx="7303484" cy="4139518"/>
          </a:xfrm>
          <a:prstGeom prst="rect">
            <a:avLst/>
          </a:prstGeom>
        </p:spPr>
        <p:txBody>
          <a:bodyPr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800" b="0" i="0" smtClean="0">
                <a:effectLst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The proper video format is .mp4 files encoded with H.264 video (a.k.a. MPEG-4 AVC) and AAC audio.</a:t>
            </a:r>
            <a:br>
              <a:rPr lang="en-US" dirty="0"/>
            </a:br>
            <a:r>
              <a:rPr lang="en-US" dirty="0"/>
              <a:t>Please keep file sizes as low as possible, use compression software if necessary.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10310722" y="4746"/>
            <a:ext cx="1900734" cy="1509403"/>
            <a:chOff x="10310722" y="4746"/>
            <a:chExt cx="1900734" cy="1509403"/>
          </a:xfrm>
        </p:grpSpPr>
        <p:sp>
          <p:nvSpPr>
            <p:cNvPr id="6" name="Right Triangle 5"/>
            <p:cNvSpPr/>
            <p:nvPr/>
          </p:nvSpPr>
          <p:spPr>
            <a:xfrm rot="10800000">
              <a:off x="10310722" y="4746"/>
              <a:ext cx="1881286" cy="1509403"/>
            </a:xfrm>
            <a:prstGeom prst="rtTriangle">
              <a:avLst/>
            </a:prstGeom>
            <a:gradFill>
              <a:gsLst>
                <a:gs pos="0">
                  <a:srgbClr val="B3D418"/>
                </a:gs>
                <a:gs pos="54000">
                  <a:srgbClr val="6FB734"/>
                </a:gs>
              </a:gsLst>
              <a:lin ang="18600000" scaled="0"/>
            </a:gradFill>
            <a:ln w="317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solidFill>
                  <a:prstClr val="white"/>
                </a:solidFill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10943176" y="254395"/>
              <a:ext cx="1268280" cy="276999"/>
            </a:xfrm>
            <a:prstGeom prst="rect">
              <a:avLst/>
            </a:prstGeom>
            <a:noFill/>
            <a:effectLst>
              <a:softEdge rad="0"/>
            </a:effectLst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pt-BR" b="1" dirty="0">
                  <a:solidFill>
                    <a:srgbClr val="FFFFFF"/>
                  </a:solidFill>
                </a:rPr>
                <a:t>FUTURO</a:t>
              </a:r>
            </a:p>
          </p:txBody>
        </p:sp>
        <p:sp>
          <p:nvSpPr>
            <p:cNvPr id="10" name="Right Triangle 9"/>
            <p:cNvSpPr/>
            <p:nvPr/>
          </p:nvSpPr>
          <p:spPr>
            <a:xfrm rot="10800000">
              <a:off x="10310722" y="4746"/>
              <a:ext cx="1881286" cy="1509403"/>
            </a:xfrm>
            <a:prstGeom prst="rtTriangle">
              <a:avLst/>
            </a:prstGeom>
            <a:gradFill>
              <a:gsLst>
                <a:gs pos="53000">
                  <a:srgbClr val="000000">
                    <a:alpha val="30000"/>
                  </a:srgbClr>
                </a:gs>
                <a:gs pos="42000">
                  <a:schemeClr val="tx1">
                    <a:alpha val="0"/>
                    <a:lumMod val="65000"/>
                    <a:lumOff val="35000"/>
                  </a:schemeClr>
                </a:gs>
              </a:gsLst>
              <a:lin ang="18600000" scaled="0"/>
            </a:gradFill>
            <a:ln w="31750">
              <a:noFill/>
            </a:ln>
            <a:effectLst>
              <a:outerShdw blurRad="228600" dist="165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solidFill>
                  <a:prstClr val="white"/>
                </a:solidFill>
              </a:endParaRPr>
            </a:p>
          </p:txBody>
        </p:sp>
      </p:grp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40"/>
          <a:stretch/>
        </p:blipFill>
        <p:spPr>
          <a:xfrm>
            <a:off x="1108841" y="254395"/>
            <a:ext cx="9974318" cy="672973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4370127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4791" y="1122363"/>
            <a:ext cx="10342418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24791" y="3602038"/>
            <a:ext cx="10342418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24791" y="6356350"/>
            <a:ext cx="3102726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F7A77EC6-0E89-1345-9389-7BE421A90930}" type="datetimeFigureOut">
              <a:rPr lang="en-US" smtClean="0">
                <a:solidFill>
                  <a:srgbClr val="565656"/>
                </a:solidFill>
              </a:rPr>
              <a:pPr/>
              <a:t>10/25/2023</a:t>
            </a:fld>
            <a:endParaRPr lang="en-US" dirty="0">
              <a:solidFill>
                <a:srgbClr val="56565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5310" y="6356350"/>
            <a:ext cx="465408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>
              <a:solidFill>
                <a:srgbClr val="56565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97191" y="6356350"/>
            <a:ext cx="3102726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A1280B0A-780C-4C4C-AB79-CA8957A8D3E4}" type="slidenum">
              <a:rPr lang="en-US" smtClean="0">
                <a:solidFill>
                  <a:srgbClr val="565656"/>
                </a:solidFill>
              </a:rPr>
              <a:pPr/>
              <a:t>‹nº›</a:t>
            </a:fld>
            <a:endParaRPr lang="en-US" dirty="0">
              <a:solidFill>
                <a:srgbClr val="565656"/>
              </a:solidFill>
            </a:endParaRPr>
          </a:p>
        </p:txBody>
      </p:sp>
      <p:pic>
        <p:nvPicPr>
          <p:cNvPr id="7" name="Picture 6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07303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 smtClean="0">
                <a:solidFill>
                  <a:srgbClr val="565656"/>
                </a:solidFill>
              </a:rPr>
              <a:pPr/>
              <a:t>10/25/2023</a:t>
            </a:fld>
            <a:endParaRPr lang="en-US" dirty="0">
              <a:solidFill>
                <a:srgbClr val="56565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6565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 smtClean="0">
                <a:solidFill>
                  <a:srgbClr val="565656"/>
                </a:solidFill>
              </a:rPr>
              <a:pPr/>
              <a:t>‹nº›</a:t>
            </a:fld>
            <a:endParaRPr lang="en-US" dirty="0">
              <a:solidFill>
                <a:srgbClr val="565656"/>
              </a:solidFill>
            </a:endParaRPr>
          </a:p>
        </p:txBody>
      </p:sp>
      <p:pic>
        <p:nvPicPr>
          <p:cNvPr id="7" name="Picture 6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46147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 smtClean="0">
                <a:solidFill>
                  <a:srgbClr val="565656"/>
                </a:solidFill>
              </a:rPr>
              <a:pPr/>
              <a:t>10/25/2023</a:t>
            </a:fld>
            <a:endParaRPr lang="en-US" dirty="0">
              <a:solidFill>
                <a:srgbClr val="56565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6565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 smtClean="0">
                <a:solidFill>
                  <a:srgbClr val="565656"/>
                </a:solidFill>
              </a:rPr>
              <a:pPr/>
              <a:t>‹nº›</a:t>
            </a:fld>
            <a:endParaRPr lang="en-US" dirty="0">
              <a:solidFill>
                <a:srgbClr val="565656"/>
              </a:solidFill>
            </a:endParaRPr>
          </a:p>
        </p:txBody>
      </p:sp>
      <p:pic>
        <p:nvPicPr>
          <p:cNvPr id="7" name="Picture 6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28850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 smtClean="0">
                <a:solidFill>
                  <a:srgbClr val="565656"/>
                </a:solidFill>
              </a:rPr>
              <a:pPr/>
              <a:t>10/25/2023</a:t>
            </a:fld>
            <a:endParaRPr lang="en-US" dirty="0">
              <a:solidFill>
                <a:srgbClr val="565656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6565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 smtClean="0">
                <a:solidFill>
                  <a:srgbClr val="565656"/>
                </a:solidFill>
              </a:rPr>
              <a:pPr/>
              <a:t>‹nº›</a:t>
            </a:fld>
            <a:endParaRPr lang="en-US" dirty="0">
              <a:solidFill>
                <a:srgbClr val="565656"/>
              </a:solidFill>
            </a:endParaRPr>
          </a:p>
        </p:txBody>
      </p:sp>
      <p:pic>
        <p:nvPicPr>
          <p:cNvPr id="8" name="Picture 7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56142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 smtClean="0">
                <a:solidFill>
                  <a:srgbClr val="565656"/>
                </a:solidFill>
              </a:rPr>
              <a:pPr/>
              <a:t>10/25/2023</a:t>
            </a:fld>
            <a:endParaRPr lang="en-US" dirty="0">
              <a:solidFill>
                <a:srgbClr val="565656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65656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 smtClean="0">
                <a:solidFill>
                  <a:srgbClr val="565656"/>
                </a:solidFill>
              </a:rPr>
              <a:pPr/>
              <a:t>‹nº›</a:t>
            </a:fld>
            <a:endParaRPr lang="en-US" dirty="0">
              <a:solidFill>
                <a:srgbClr val="565656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90945" y="365125"/>
            <a:ext cx="11610110" cy="1325563"/>
          </a:xfrm>
          <a:prstGeom prst="rect">
            <a:avLst/>
          </a:prstGeom>
        </p:spPr>
        <p:txBody>
          <a:bodyPr/>
          <a:lstStyle>
            <a:lvl1pPr algn="ctr">
              <a:defRPr sz="36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84962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slat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0990" indent="-222245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4129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 smtClean="0">
                <a:solidFill>
                  <a:srgbClr val="565656"/>
                </a:solidFill>
              </a:rPr>
              <a:pPr/>
              <a:t>10/25/2023</a:t>
            </a:fld>
            <a:endParaRPr lang="en-US" dirty="0">
              <a:solidFill>
                <a:srgbClr val="565656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6565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 smtClean="0">
                <a:solidFill>
                  <a:srgbClr val="565656"/>
                </a:solidFill>
              </a:rPr>
              <a:pPr/>
              <a:t>‹nº›</a:t>
            </a:fld>
            <a:endParaRPr lang="en-US" dirty="0">
              <a:solidFill>
                <a:srgbClr val="565656"/>
              </a:solidFill>
            </a:endParaRPr>
          </a:p>
        </p:txBody>
      </p:sp>
      <p:pic>
        <p:nvPicPr>
          <p:cNvPr id="8" name="Picture 7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66385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 smtClean="0">
                <a:solidFill>
                  <a:srgbClr val="565656"/>
                </a:solidFill>
              </a:rPr>
              <a:pPr/>
              <a:t>10/25/2023</a:t>
            </a:fld>
            <a:endParaRPr lang="en-US" dirty="0">
              <a:solidFill>
                <a:srgbClr val="565656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6565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 smtClean="0">
                <a:solidFill>
                  <a:srgbClr val="565656"/>
                </a:solidFill>
              </a:rPr>
              <a:pPr/>
              <a:t>‹nº›</a:t>
            </a:fld>
            <a:endParaRPr lang="en-US" dirty="0">
              <a:solidFill>
                <a:srgbClr val="565656"/>
              </a:solidFill>
            </a:endParaRPr>
          </a:p>
        </p:txBody>
      </p:sp>
      <p:pic>
        <p:nvPicPr>
          <p:cNvPr id="8" name="Picture 7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44728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 smtClean="0">
                <a:solidFill>
                  <a:srgbClr val="565656"/>
                </a:solidFill>
              </a:rPr>
              <a:pPr/>
              <a:t>10/25/2023</a:t>
            </a:fld>
            <a:endParaRPr lang="en-US" dirty="0">
              <a:solidFill>
                <a:srgbClr val="56565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6565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 smtClean="0">
                <a:solidFill>
                  <a:srgbClr val="565656"/>
                </a:solidFill>
              </a:rPr>
              <a:pPr/>
              <a:t>‹nº›</a:t>
            </a:fld>
            <a:endParaRPr lang="en-US" dirty="0">
              <a:solidFill>
                <a:srgbClr val="565656"/>
              </a:solidFill>
            </a:endParaRPr>
          </a:p>
        </p:txBody>
      </p:sp>
      <p:pic>
        <p:nvPicPr>
          <p:cNvPr id="7" name="Picture 6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33511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 smtClean="0">
                <a:solidFill>
                  <a:srgbClr val="565656"/>
                </a:solidFill>
              </a:rPr>
              <a:pPr/>
              <a:t>10/25/2023</a:t>
            </a:fld>
            <a:endParaRPr lang="en-US" dirty="0">
              <a:solidFill>
                <a:srgbClr val="56565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6565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 smtClean="0">
                <a:solidFill>
                  <a:srgbClr val="565656"/>
                </a:solidFill>
              </a:rPr>
              <a:pPr/>
              <a:t>‹nº›</a:t>
            </a:fld>
            <a:endParaRPr lang="en-US" dirty="0">
              <a:solidFill>
                <a:srgbClr val="565656"/>
              </a:solidFill>
            </a:endParaRPr>
          </a:p>
        </p:txBody>
      </p:sp>
      <p:pic>
        <p:nvPicPr>
          <p:cNvPr id="7" name="Picture 6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70477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EXT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Qlik_L01_PPT_-06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30934" y="1"/>
            <a:ext cx="1761065" cy="1919644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rgbClr val="797979">
                    <a:lumMod val="60000"/>
                    <a:lumOff val="40000"/>
                  </a:srgbClr>
                </a:solidFill>
              </a:rPr>
              <a:pPr algn="r"/>
              <a:t>‹nº›</a:t>
            </a:fld>
            <a:endParaRPr lang="en-US" sz="1133" dirty="0">
              <a:solidFill>
                <a:srgbClr val="797979">
                  <a:lumMod val="60000"/>
                  <a:lumOff val="40000"/>
                </a:srgbClr>
              </a:solidFill>
            </a:endParaRPr>
          </a:p>
        </p:txBody>
      </p:sp>
      <p:pic>
        <p:nvPicPr>
          <p:cNvPr id="5" name="Picture 4" descr="QlikLogo-RGB-PPT.png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517001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733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Main headline her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17600" y="1660800"/>
            <a:ext cx="10281601" cy="26078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43834" indent="-243834">
              <a:lnSpc>
                <a:spcPct val="11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2400" b="0" baseline="0">
                <a:solidFill>
                  <a:schemeClr val="tx2"/>
                </a:solidFill>
              </a:defRPr>
            </a:lvl1pPr>
            <a:lvl2pPr marL="243834" indent="-243834">
              <a:buClr>
                <a:schemeClr val="accent1"/>
              </a:buClr>
              <a:buFont typeface="Arial" panose="020B0604020202020204" pitchFamily="34" charset="0"/>
              <a:buChar char="•"/>
              <a:defRPr sz="2400" b="0">
                <a:solidFill>
                  <a:schemeClr val="tx2"/>
                </a:solidFill>
              </a:defRPr>
            </a:lvl2pPr>
            <a:lvl3pPr marL="609585" indent="-243834">
              <a:buClr>
                <a:schemeClr val="accent1"/>
              </a:buClr>
              <a:buSzPct val="80000"/>
              <a:buFont typeface="Arial" panose="020B0604020202020204" pitchFamily="34" charset="0"/>
              <a:buChar char="─"/>
              <a:defRPr sz="2133" b="0" baseline="0">
                <a:solidFill>
                  <a:schemeClr val="tx2"/>
                </a:solidFill>
              </a:defRPr>
            </a:lvl3pPr>
            <a:lvl4pPr marL="853419" marR="0" indent="-24383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867" b="0" baseline="0">
                <a:solidFill>
                  <a:schemeClr val="tx2"/>
                </a:solidFill>
              </a:defRPr>
            </a:lvl4pPr>
            <a:lvl5pPr marL="2438339" indent="0">
              <a:buNone/>
              <a:defRPr sz="2667" b="1">
                <a:solidFill>
                  <a:srgbClr val="8C8C8C"/>
                </a:solidFill>
              </a:defRPr>
            </a:lvl5pPr>
          </a:lstStyle>
          <a:p>
            <a:pPr lvl="0"/>
            <a:r>
              <a:rPr lang="en-US" dirty="0"/>
              <a:t>Title for bulleted list</a:t>
            </a:r>
          </a:p>
          <a:p>
            <a:pPr lvl="1"/>
            <a:r>
              <a:rPr lang="en-US" dirty="0"/>
              <a:t>Bullet #1 replace text and insert your own here</a:t>
            </a:r>
          </a:p>
          <a:p>
            <a:pPr lvl="1"/>
            <a:r>
              <a:rPr lang="en-US" dirty="0"/>
              <a:t>Bullet #2 replace text and insert your own here and insert your own </a:t>
            </a:r>
          </a:p>
          <a:p>
            <a:pPr lvl="2"/>
            <a:r>
              <a:rPr lang="en-US" dirty="0"/>
              <a:t>Sub bullet #1 style insert your own text here</a:t>
            </a:r>
          </a:p>
          <a:p>
            <a:pPr lvl="2"/>
            <a:r>
              <a:rPr lang="en-US" dirty="0"/>
              <a:t>Sub bullet #2 style insert your own text here insert your own text here</a:t>
            </a:r>
          </a:p>
          <a:p>
            <a:pPr lvl="3"/>
            <a:r>
              <a:rPr lang="en-US" dirty="0"/>
              <a:t>List bullet #1 style insert your own text here insert your own text here</a:t>
            </a:r>
          </a:p>
          <a:p>
            <a:pPr lvl="3"/>
            <a:r>
              <a:rPr lang="en-US" dirty="0"/>
              <a:t>List bullet #2 style insert your own text here</a:t>
            </a:r>
          </a:p>
        </p:txBody>
      </p:sp>
    </p:spTree>
    <p:extLst>
      <p:ext uri="{BB962C8B-B14F-4D97-AF65-F5344CB8AC3E}">
        <p14:creationId xmlns:p14="http://schemas.microsoft.com/office/powerpoint/2010/main" val="156848797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ex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Qlik_L01_PPT_-06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079" t="14647" r="4079" b="-4845"/>
          <a:stretch/>
        </p:blipFill>
        <p:spPr>
          <a:xfrm>
            <a:off x="10667837" y="-1"/>
            <a:ext cx="1524163" cy="1501423"/>
          </a:xfrm>
          <a:prstGeom prst="rect">
            <a:avLst/>
          </a:prstGeom>
        </p:spPr>
      </p:pic>
      <p:pic>
        <p:nvPicPr>
          <p:cNvPr id="4" name="Picture 3" descr="Circles_LeftandRight.jp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pic>
        <p:nvPicPr>
          <p:cNvPr id="8" name="Picture 7" descr="Qlik_L01_PPT_-06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079" t="14647" r="4079" b="-4845"/>
          <a:stretch/>
        </p:blipFill>
        <p:spPr>
          <a:xfrm>
            <a:off x="10667837" y="-1"/>
            <a:ext cx="1524163" cy="1501423"/>
          </a:xfrm>
          <a:prstGeom prst="rect">
            <a:avLst/>
          </a:prstGeom>
        </p:spPr>
      </p:pic>
      <p:pic>
        <p:nvPicPr>
          <p:cNvPr id="10" name="Picture 9" descr="Circles_LeftandRight.jpg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492443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200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Main headline here</a:t>
            </a:r>
          </a:p>
        </p:txBody>
      </p:sp>
      <p:pic>
        <p:nvPicPr>
          <p:cNvPr id="15" name="Picture 14" descr="QlikLogo-RGB-PPT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09585"/>
            <a:fld id="{E8FE2E68-F185-5D47-B25F-652B0924F704}" type="slidenum">
              <a:rPr lang="en-US" sz="1133">
                <a:solidFill>
                  <a:srgbClr val="797979">
                    <a:lumMod val="60000"/>
                    <a:lumOff val="40000"/>
                  </a:srgbClr>
                </a:solidFill>
              </a:rPr>
              <a:pPr algn="r" defTabSz="609585"/>
              <a:t>‹nº›</a:t>
            </a:fld>
            <a:endParaRPr lang="en-US" sz="1133" dirty="0">
              <a:solidFill>
                <a:srgbClr val="797979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80767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Qlik_L01_PPT_-06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079" t="14647" r="4079" b="-4845"/>
          <a:stretch/>
        </p:blipFill>
        <p:spPr>
          <a:xfrm>
            <a:off x="10667837" y="-1"/>
            <a:ext cx="1524163" cy="1501423"/>
          </a:xfrm>
          <a:prstGeom prst="rect">
            <a:avLst/>
          </a:prstGeom>
        </p:spPr>
      </p:pic>
      <p:pic>
        <p:nvPicPr>
          <p:cNvPr id="4" name="Picture 3" descr="Circles_LeftandRight.jp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6" name="Picture 5" descr="QlikLogo-RGB-PPT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517001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733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Agenda slid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17600" y="1660800"/>
            <a:ext cx="10281601" cy="28397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43834" indent="-243834">
              <a:lnSpc>
                <a:spcPct val="110000"/>
              </a:lnSpc>
              <a:spcBef>
                <a:spcPts val="1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b="0" baseline="0">
                <a:solidFill>
                  <a:schemeClr val="tx2"/>
                </a:solidFill>
              </a:defRPr>
            </a:lvl1pPr>
            <a:lvl2pPr marL="243834" indent="-243834">
              <a:buClr>
                <a:schemeClr val="accent1"/>
              </a:buClr>
              <a:buFont typeface="Arial" panose="020B0604020202020204" pitchFamily="34" charset="0"/>
              <a:buChar char="•"/>
              <a:defRPr sz="2400" b="0">
                <a:solidFill>
                  <a:schemeClr val="tx2"/>
                </a:solidFill>
              </a:defRPr>
            </a:lvl2pPr>
            <a:lvl3pPr marL="609585" indent="-243834">
              <a:buClr>
                <a:schemeClr val="accent1"/>
              </a:buClr>
              <a:buSzPct val="80000"/>
              <a:buFont typeface="Arial" panose="020B0604020202020204" pitchFamily="34" charset="0"/>
              <a:buChar char="─"/>
              <a:defRPr sz="2133" b="0" baseline="0">
                <a:solidFill>
                  <a:schemeClr val="tx2"/>
                </a:solidFill>
              </a:defRPr>
            </a:lvl3pPr>
            <a:lvl4pPr marL="853419" marR="0" indent="-24383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867" b="0" baseline="0">
                <a:solidFill>
                  <a:schemeClr val="tx2"/>
                </a:solidFill>
              </a:defRPr>
            </a:lvl4pPr>
            <a:lvl5pPr marL="2438339" indent="0">
              <a:buNone/>
              <a:defRPr sz="2667" b="1">
                <a:solidFill>
                  <a:srgbClr val="8C8C8C"/>
                </a:solidFill>
              </a:defRPr>
            </a:lvl5pPr>
          </a:lstStyle>
          <a:p>
            <a:pPr lvl="0"/>
            <a:r>
              <a:rPr lang="en-US" dirty="0"/>
              <a:t>Title for bulleted list</a:t>
            </a:r>
          </a:p>
          <a:p>
            <a:pPr lvl="2"/>
            <a:r>
              <a:rPr lang="en-US" dirty="0"/>
              <a:t>Sub bullet #1 style insert your own text here</a:t>
            </a:r>
          </a:p>
          <a:p>
            <a:pPr lvl="3"/>
            <a:r>
              <a:rPr lang="en-US" dirty="0"/>
              <a:t>List bullet #1 style insert your own text here insert your own text here</a:t>
            </a:r>
          </a:p>
          <a:p>
            <a:pPr lvl="0"/>
            <a:r>
              <a:rPr lang="en-US" dirty="0"/>
              <a:t>Title for bulleted list</a:t>
            </a:r>
          </a:p>
          <a:p>
            <a:pPr lvl="2"/>
            <a:r>
              <a:rPr lang="en-US" dirty="0"/>
              <a:t>Sub bullet #1 style insert your own text here</a:t>
            </a:r>
          </a:p>
          <a:p>
            <a:pPr lvl="3"/>
            <a:r>
              <a:rPr lang="en-US" dirty="0"/>
              <a:t>List bullet #1 style insert your own text here insert your own text here</a:t>
            </a:r>
          </a:p>
          <a:p>
            <a:pPr lvl="3"/>
            <a:endParaRPr lang="en-US" dirty="0"/>
          </a:p>
        </p:txBody>
      </p:sp>
      <p:pic>
        <p:nvPicPr>
          <p:cNvPr id="8" name="Picture 7" descr="Qlik_L01_PPT_-06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079" t="14647" r="4079" b="-4845"/>
          <a:stretch/>
        </p:blipFill>
        <p:spPr>
          <a:xfrm>
            <a:off x="10667837" y="-1"/>
            <a:ext cx="1524163" cy="1501423"/>
          </a:xfrm>
          <a:prstGeom prst="rect">
            <a:avLst/>
          </a:prstGeom>
        </p:spPr>
      </p:pic>
      <p:pic>
        <p:nvPicPr>
          <p:cNvPr id="9" name="Picture 8" descr="Circles_LeftandRight.jpg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3" name="Picture 12" descr="QlikLogo-RGB-PPT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65463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TEX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Qlik_L01_PPT_-06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079" t="14647" r="4079" b="-4845"/>
          <a:stretch/>
        </p:blipFill>
        <p:spPr>
          <a:xfrm>
            <a:off x="10667837" y="-1"/>
            <a:ext cx="1524163" cy="1501423"/>
          </a:xfrm>
          <a:prstGeom prst="rect">
            <a:avLst/>
          </a:prstGeom>
        </p:spPr>
      </p:pic>
      <p:pic>
        <p:nvPicPr>
          <p:cNvPr id="4" name="Picture 3" descr="Circles_LeftandRight.jp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6" name="Picture 5" descr="QlikLogo-RGB-PPT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17600" y="1660800"/>
            <a:ext cx="10281601" cy="26078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43834" indent="-243834">
              <a:lnSpc>
                <a:spcPct val="11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2400" b="0" baseline="0">
                <a:solidFill>
                  <a:schemeClr val="tx2"/>
                </a:solidFill>
              </a:defRPr>
            </a:lvl1pPr>
            <a:lvl2pPr marL="243834" indent="-243834">
              <a:buClr>
                <a:schemeClr val="accent1"/>
              </a:buClr>
              <a:buFont typeface="Arial" panose="020B0604020202020204" pitchFamily="34" charset="0"/>
              <a:buChar char="•"/>
              <a:defRPr sz="2400" b="0">
                <a:solidFill>
                  <a:schemeClr val="tx2"/>
                </a:solidFill>
              </a:defRPr>
            </a:lvl2pPr>
            <a:lvl3pPr marL="609585" indent="-243834">
              <a:buClr>
                <a:schemeClr val="accent1"/>
              </a:buClr>
              <a:buSzPct val="80000"/>
              <a:buFont typeface="Arial" panose="020B0604020202020204" pitchFamily="34" charset="0"/>
              <a:buChar char="─"/>
              <a:defRPr sz="2133" b="0" baseline="0">
                <a:solidFill>
                  <a:schemeClr val="tx2"/>
                </a:solidFill>
              </a:defRPr>
            </a:lvl3pPr>
            <a:lvl4pPr marL="853419" marR="0" indent="-24383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867" b="0" baseline="0">
                <a:solidFill>
                  <a:schemeClr val="tx2"/>
                </a:solidFill>
              </a:defRPr>
            </a:lvl4pPr>
            <a:lvl5pPr marL="2438339" indent="0">
              <a:buNone/>
              <a:defRPr sz="2667" b="1">
                <a:solidFill>
                  <a:srgbClr val="8C8C8C"/>
                </a:solidFill>
              </a:defRPr>
            </a:lvl5pPr>
          </a:lstStyle>
          <a:p>
            <a:pPr lvl="0"/>
            <a:r>
              <a:rPr lang="en-US" dirty="0"/>
              <a:t>Title for bulleted list</a:t>
            </a:r>
          </a:p>
          <a:p>
            <a:pPr lvl="1"/>
            <a:r>
              <a:rPr lang="en-US" dirty="0"/>
              <a:t>Bullet #1 replace text and insert your own here</a:t>
            </a:r>
          </a:p>
          <a:p>
            <a:pPr lvl="1"/>
            <a:r>
              <a:rPr lang="en-US" dirty="0"/>
              <a:t>Bullet #2 replace text and insert your own here and insert your own </a:t>
            </a:r>
          </a:p>
          <a:p>
            <a:pPr lvl="2"/>
            <a:r>
              <a:rPr lang="en-US" dirty="0"/>
              <a:t>Sub bullet #1 style insert your own text here</a:t>
            </a:r>
          </a:p>
          <a:p>
            <a:pPr lvl="2"/>
            <a:r>
              <a:rPr lang="en-US" dirty="0"/>
              <a:t>Sub bullet #2 style insert your own text here insert your own text here</a:t>
            </a:r>
          </a:p>
          <a:p>
            <a:pPr lvl="3"/>
            <a:r>
              <a:rPr lang="en-US" dirty="0"/>
              <a:t>List bullet #1 style insert your own text here insert your own text here</a:t>
            </a:r>
          </a:p>
          <a:p>
            <a:pPr lvl="3"/>
            <a:r>
              <a:rPr lang="en-US" dirty="0"/>
              <a:t>List bullet #2 style insert your own text her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517001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733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Main headline here</a:t>
            </a:r>
          </a:p>
        </p:txBody>
      </p:sp>
      <p:pic>
        <p:nvPicPr>
          <p:cNvPr id="8" name="Picture 7" descr="Qlik_L01_PPT_-06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079" t="14647" r="4079" b="-4845"/>
          <a:stretch/>
        </p:blipFill>
        <p:spPr>
          <a:xfrm>
            <a:off x="10667837" y="-1"/>
            <a:ext cx="1524163" cy="1501423"/>
          </a:xfrm>
          <a:prstGeom prst="rect">
            <a:avLst/>
          </a:prstGeom>
        </p:spPr>
      </p:pic>
      <p:pic>
        <p:nvPicPr>
          <p:cNvPr id="10" name="Picture 9" descr="Circles_LeftandRight.jpg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3" name="Picture 12" descr="QlikLogo-RGB-PPT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58776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stone)">
    <p:bg>
      <p:bgPr>
        <a:gradFill>
          <a:gsLst>
            <a:gs pos="46000">
              <a:srgbClr val="FFFFFF"/>
            </a:gs>
            <a:gs pos="100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BDA5570-AE98-714A-92B4-C08C5CBD2C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61053" y="-1"/>
            <a:ext cx="6330948" cy="6858001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413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="0" baseline="0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206" y="5960533"/>
            <a:ext cx="2531596" cy="316011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F5F7CAD8-7FD8-6045-AFE1-401B95BE5E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2675B0B-A6BD-3D47-B7E9-AB7EC4467B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0418B2E2-088E-1D4C-947E-7AFFB58137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9336200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tanzani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E84EFDA7-8E04-FF43-AC47-D4360DC4F8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61053" y="-1"/>
            <a:ext cx="6330948" cy="6858001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201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541" y="5966185"/>
            <a:ext cx="2544424" cy="317612"/>
          </a:xfrm>
          <a:prstGeom prst="rect">
            <a:avLst/>
          </a:prstGeom>
        </p:spPr>
      </p:pic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C81EAFF-6B59-444A-8347-4C73C6F202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C5FF983B-CED4-EF4C-88EE-3AA65DDD41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A8D660F7-AEBF-F84F-9AD7-170E3FD25B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7979509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7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3" Type="http://schemas.openxmlformats.org/officeDocument/2006/relationships/slideLayout" Target="../slideLayouts/slideLayout80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26" Type="http://schemas.openxmlformats.org/officeDocument/2006/relationships/slideLayout" Target="../slideLayouts/slideLayout123.xml"/><Relationship Id="rId39" Type="http://schemas.openxmlformats.org/officeDocument/2006/relationships/slideLayout" Target="../slideLayouts/slideLayout136.xml"/><Relationship Id="rId21" Type="http://schemas.openxmlformats.org/officeDocument/2006/relationships/slideLayout" Target="../slideLayouts/slideLayout118.xml"/><Relationship Id="rId34" Type="http://schemas.openxmlformats.org/officeDocument/2006/relationships/slideLayout" Target="../slideLayouts/slideLayout131.xml"/><Relationship Id="rId42" Type="http://schemas.openxmlformats.org/officeDocument/2006/relationships/slideLayout" Target="../slideLayouts/slideLayout139.xml"/><Relationship Id="rId47" Type="http://schemas.openxmlformats.org/officeDocument/2006/relationships/slideLayout" Target="../slideLayouts/slideLayout144.xml"/><Relationship Id="rId50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9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08.xml"/><Relationship Id="rId24" Type="http://schemas.openxmlformats.org/officeDocument/2006/relationships/slideLayout" Target="../slideLayouts/slideLayout121.xml"/><Relationship Id="rId32" Type="http://schemas.openxmlformats.org/officeDocument/2006/relationships/slideLayout" Target="../slideLayouts/slideLayout129.xml"/><Relationship Id="rId37" Type="http://schemas.openxmlformats.org/officeDocument/2006/relationships/slideLayout" Target="../slideLayouts/slideLayout134.xml"/><Relationship Id="rId40" Type="http://schemas.openxmlformats.org/officeDocument/2006/relationships/slideLayout" Target="../slideLayouts/slideLayout137.xml"/><Relationship Id="rId45" Type="http://schemas.openxmlformats.org/officeDocument/2006/relationships/slideLayout" Target="../slideLayouts/slideLayout142.xml"/><Relationship Id="rId53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107.xml"/><Relationship Id="rId19" Type="http://schemas.openxmlformats.org/officeDocument/2006/relationships/slideLayout" Target="../slideLayouts/slideLayout116.xml"/><Relationship Id="rId31" Type="http://schemas.openxmlformats.org/officeDocument/2006/relationships/slideLayout" Target="../slideLayouts/slideLayout128.xml"/><Relationship Id="rId44" Type="http://schemas.openxmlformats.org/officeDocument/2006/relationships/slideLayout" Target="../slideLayouts/slideLayout141.xml"/><Relationship Id="rId52" Type="http://schemas.openxmlformats.org/officeDocument/2006/relationships/slideLayout" Target="../slideLayouts/slideLayout149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Relationship Id="rId22" Type="http://schemas.openxmlformats.org/officeDocument/2006/relationships/slideLayout" Target="../slideLayouts/slideLayout119.xml"/><Relationship Id="rId27" Type="http://schemas.openxmlformats.org/officeDocument/2006/relationships/slideLayout" Target="../slideLayouts/slideLayout124.xml"/><Relationship Id="rId30" Type="http://schemas.openxmlformats.org/officeDocument/2006/relationships/slideLayout" Target="../slideLayouts/slideLayout127.xml"/><Relationship Id="rId35" Type="http://schemas.openxmlformats.org/officeDocument/2006/relationships/slideLayout" Target="../slideLayouts/slideLayout132.xml"/><Relationship Id="rId43" Type="http://schemas.openxmlformats.org/officeDocument/2006/relationships/slideLayout" Target="../slideLayouts/slideLayout140.xml"/><Relationship Id="rId48" Type="http://schemas.openxmlformats.org/officeDocument/2006/relationships/slideLayout" Target="../slideLayouts/slideLayout145.xml"/><Relationship Id="rId8" Type="http://schemas.openxmlformats.org/officeDocument/2006/relationships/slideLayout" Target="../slideLayouts/slideLayout105.xml"/><Relationship Id="rId51" Type="http://schemas.openxmlformats.org/officeDocument/2006/relationships/slideLayout" Target="../slideLayouts/slideLayout148.xml"/><Relationship Id="rId3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5" Type="http://schemas.openxmlformats.org/officeDocument/2006/relationships/slideLayout" Target="../slideLayouts/slideLayout122.xml"/><Relationship Id="rId33" Type="http://schemas.openxmlformats.org/officeDocument/2006/relationships/slideLayout" Target="../slideLayouts/slideLayout130.xml"/><Relationship Id="rId38" Type="http://schemas.openxmlformats.org/officeDocument/2006/relationships/slideLayout" Target="../slideLayouts/slideLayout135.xml"/><Relationship Id="rId46" Type="http://schemas.openxmlformats.org/officeDocument/2006/relationships/slideLayout" Target="../slideLayouts/slideLayout143.xml"/><Relationship Id="rId20" Type="http://schemas.openxmlformats.org/officeDocument/2006/relationships/slideLayout" Target="../slideLayouts/slideLayout117.xml"/><Relationship Id="rId41" Type="http://schemas.openxmlformats.org/officeDocument/2006/relationships/slideLayout" Target="../slideLayouts/slideLayout138.xml"/><Relationship Id="rId54" Type="http://schemas.openxmlformats.org/officeDocument/2006/relationships/theme" Target="../theme/theme5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2.xml"/><Relationship Id="rId23" Type="http://schemas.openxmlformats.org/officeDocument/2006/relationships/slideLayout" Target="../slideLayouts/slideLayout120.xml"/><Relationship Id="rId28" Type="http://schemas.openxmlformats.org/officeDocument/2006/relationships/slideLayout" Target="../slideLayouts/slideLayout125.xml"/><Relationship Id="rId36" Type="http://schemas.openxmlformats.org/officeDocument/2006/relationships/slideLayout" Target="../slideLayouts/slideLayout133.xml"/><Relationship Id="rId49" Type="http://schemas.openxmlformats.org/officeDocument/2006/relationships/slideLayout" Target="../slideLayouts/slideLayout146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3.xml"/><Relationship Id="rId18" Type="http://schemas.openxmlformats.org/officeDocument/2006/relationships/slideLayout" Target="../slideLayouts/slideLayout168.xml"/><Relationship Id="rId26" Type="http://schemas.openxmlformats.org/officeDocument/2006/relationships/slideLayout" Target="../slideLayouts/slideLayout176.xml"/><Relationship Id="rId39" Type="http://schemas.openxmlformats.org/officeDocument/2006/relationships/image" Target="../media/image48.emf"/><Relationship Id="rId21" Type="http://schemas.openxmlformats.org/officeDocument/2006/relationships/slideLayout" Target="../slideLayouts/slideLayout171.xml"/><Relationship Id="rId34" Type="http://schemas.openxmlformats.org/officeDocument/2006/relationships/slideLayout" Target="../slideLayouts/slideLayout184.xml"/><Relationship Id="rId7" Type="http://schemas.openxmlformats.org/officeDocument/2006/relationships/slideLayout" Target="../slideLayouts/slideLayout157.xml"/><Relationship Id="rId12" Type="http://schemas.openxmlformats.org/officeDocument/2006/relationships/slideLayout" Target="../slideLayouts/slideLayout162.xml"/><Relationship Id="rId17" Type="http://schemas.openxmlformats.org/officeDocument/2006/relationships/slideLayout" Target="../slideLayouts/slideLayout167.xml"/><Relationship Id="rId25" Type="http://schemas.openxmlformats.org/officeDocument/2006/relationships/slideLayout" Target="../slideLayouts/slideLayout175.xml"/><Relationship Id="rId33" Type="http://schemas.openxmlformats.org/officeDocument/2006/relationships/slideLayout" Target="../slideLayouts/slideLayout183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152.xml"/><Relationship Id="rId16" Type="http://schemas.openxmlformats.org/officeDocument/2006/relationships/slideLayout" Target="../slideLayouts/slideLayout166.xml"/><Relationship Id="rId20" Type="http://schemas.openxmlformats.org/officeDocument/2006/relationships/slideLayout" Target="../slideLayouts/slideLayout170.xml"/><Relationship Id="rId29" Type="http://schemas.openxmlformats.org/officeDocument/2006/relationships/slideLayout" Target="../slideLayouts/slideLayout179.xml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11" Type="http://schemas.openxmlformats.org/officeDocument/2006/relationships/slideLayout" Target="../slideLayouts/slideLayout161.xml"/><Relationship Id="rId24" Type="http://schemas.openxmlformats.org/officeDocument/2006/relationships/slideLayout" Target="../slideLayouts/slideLayout174.xml"/><Relationship Id="rId32" Type="http://schemas.openxmlformats.org/officeDocument/2006/relationships/slideLayout" Target="../slideLayouts/slideLayout182.xml"/><Relationship Id="rId37" Type="http://schemas.openxmlformats.org/officeDocument/2006/relationships/tags" Target="../tags/tag1.xml"/><Relationship Id="rId5" Type="http://schemas.openxmlformats.org/officeDocument/2006/relationships/slideLayout" Target="../slideLayouts/slideLayout155.xml"/><Relationship Id="rId15" Type="http://schemas.openxmlformats.org/officeDocument/2006/relationships/slideLayout" Target="../slideLayouts/slideLayout165.xml"/><Relationship Id="rId23" Type="http://schemas.openxmlformats.org/officeDocument/2006/relationships/slideLayout" Target="../slideLayouts/slideLayout173.xml"/><Relationship Id="rId28" Type="http://schemas.openxmlformats.org/officeDocument/2006/relationships/slideLayout" Target="../slideLayouts/slideLayout178.xml"/><Relationship Id="rId36" Type="http://schemas.openxmlformats.org/officeDocument/2006/relationships/theme" Target="../theme/theme6.xml"/><Relationship Id="rId10" Type="http://schemas.openxmlformats.org/officeDocument/2006/relationships/slideLayout" Target="../slideLayouts/slideLayout160.xml"/><Relationship Id="rId19" Type="http://schemas.openxmlformats.org/officeDocument/2006/relationships/slideLayout" Target="../slideLayouts/slideLayout169.xml"/><Relationship Id="rId31" Type="http://schemas.openxmlformats.org/officeDocument/2006/relationships/slideLayout" Target="../slideLayouts/slideLayout181.xml"/><Relationship Id="rId4" Type="http://schemas.openxmlformats.org/officeDocument/2006/relationships/slideLayout" Target="../slideLayouts/slideLayout154.xml"/><Relationship Id="rId9" Type="http://schemas.openxmlformats.org/officeDocument/2006/relationships/slideLayout" Target="../slideLayouts/slideLayout159.xml"/><Relationship Id="rId14" Type="http://schemas.openxmlformats.org/officeDocument/2006/relationships/slideLayout" Target="../slideLayouts/slideLayout164.xml"/><Relationship Id="rId22" Type="http://schemas.openxmlformats.org/officeDocument/2006/relationships/slideLayout" Target="../slideLayouts/slideLayout172.xml"/><Relationship Id="rId27" Type="http://schemas.openxmlformats.org/officeDocument/2006/relationships/slideLayout" Target="../slideLayouts/slideLayout177.xml"/><Relationship Id="rId30" Type="http://schemas.openxmlformats.org/officeDocument/2006/relationships/slideLayout" Target="../slideLayouts/slideLayout180.xml"/><Relationship Id="rId35" Type="http://schemas.openxmlformats.org/officeDocument/2006/relationships/slideLayout" Target="../slideLayouts/slideLayout185.xml"/><Relationship Id="rId8" Type="http://schemas.openxmlformats.org/officeDocument/2006/relationships/slideLayout" Target="../slideLayouts/slideLayout158.xml"/><Relationship Id="rId3" Type="http://schemas.openxmlformats.org/officeDocument/2006/relationships/slideLayout" Target="../slideLayouts/slideLayout153.xml"/></Relationships>
</file>

<file path=ppt/slideMasters/_rels/slideMaster7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11.xml"/><Relationship Id="rId21" Type="http://schemas.openxmlformats.org/officeDocument/2006/relationships/slideLayout" Target="../slideLayouts/slideLayout206.xml"/><Relationship Id="rId42" Type="http://schemas.openxmlformats.org/officeDocument/2006/relationships/slideLayout" Target="../slideLayouts/slideLayout227.xml"/><Relationship Id="rId47" Type="http://schemas.openxmlformats.org/officeDocument/2006/relationships/slideLayout" Target="../slideLayouts/slideLayout232.xml"/><Relationship Id="rId63" Type="http://schemas.openxmlformats.org/officeDocument/2006/relationships/slideLayout" Target="../slideLayouts/slideLayout248.xml"/><Relationship Id="rId68" Type="http://schemas.openxmlformats.org/officeDocument/2006/relationships/slideLayout" Target="../slideLayouts/slideLayout253.xml"/><Relationship Id="rId7" Type="http://schemas.openxmlformats.org/officeDocument/2006/relationships/slideLayout" Target="../slideLayouts/slideLayout192.xml"/><Relationship Id="rId2" Type="http://schemas.openxmlformats.org/officeDocument/2006/relationships/slideLayout" Target="../slideLayouts/slideLayout187.xml"/><Relationship Id="rId16" Type="http://schemas.openxmlformats.org/officeDocument/2006/relationships/slideLayout" Target="../slideLayouts/slideLayout201.xml"/><Relationship Id="rId29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196.xml"/><Relationship Id="rId24" Type="http://schemas.openxmlformats.org/officeDocument/2006/relationships/slideLayout" Target="../slideLayouts/slideLayout209.xml"/><Relationship Id="rId32" Type="http://schemas.openxmlformats.org/officeDocument/2006/relationships/slideLayout" Target="../slideLayouts/slideLayout217.xml"/><Relationship Id="rId37" Type="http://schemas.openxmlformats.org/officeDocument/2006/relationships/slideLayout" Target="../slideLayouts/slideLayout222.xml"/><Relationship Id="rId40" Type="http://schemas.openxmlformats.org/officeDocument/2006/relationships/slideLayout" Target="../slideLayouts/slideLayout225.xml"/><Relationship Id="rId45" Type="http://schemas.openxmlformats.org/officeDocument/2006/relationships/slideLayout" Target="../slideLayouts/slideLayout230.xml"/><Relationship Id="rId53" Type="http://schemas.openxmlformats.org/officeDocument/2006/relationships/slideLayout" Target="../slideLayouts/slideLayout238.xml"/><Relationship Id="rId58" Type="http://schemas.openxmlformats.org/officeDocument/2006/relationships/slideLayout" Target="../slideLayouts/slideLayout243.xml"/><Relationship Id="rId66" Type="http://schemas.openxmlformats.org/officeDocument/2006/relationships/slideLayout" Target="../slideLayouts/slideLayout251.xml"/><Relationship Id="rId5" Type="http://schemas.openxmlformats.org/officeDocument/2006/relationships/slideLayout" Target="../slideLayouts/slideLayout190.xml"/><Relationship Id="rId61" Type="http://schemas.openxmlformats.org/officeDocument/2006/relationships/slideLayout" Target="../slideLayouts/slideLayout246.xml"/><Relationship Id="rId19" Type="http://schemas.openxmlformats.org/officeDocument/2006/relationships/slideLayout" Target="../slideLayouts/slideLayout204.xml"/><Relationship Id="rId14" Type="http://schemas.openxmlformats.org/officeDocument/2006/relationships/slideLayout" Target="../slideLayouts/slideLayout199.xml"/><Relationship Id="rId22" Type="http://schemas.openxmlformats.org/officeDocument/2006/relationships/slideLayout" Target="../slideLayouts/slideLayout207.xml"/><Relationship Id="rId27" Type="http://schemas.openxmlformats.org/officeDocument/2006/relationships/slideLayout" Target="../slideLayouts/slideLayout212.xml"/><Relationship Id="rId30" Type="http://schemas.openxmlformats.org/officeDocument/2006/relationships/slideLayout" Target="../slideLayouts/slideLayout215.xml"/><Relationship Id="rId35" Type="http://schemas.openxmlformats.org/officeDocument/2006/relationships/slideLayout" Target="../slideLayouts/slideLayout220.xml"/><Relationship Id="rId43" Type="http://schemas.openxmlformats.org/officeDocument/2006/relationships/slideLayout" Target="../slideLayouts/slideLayout228.xml"/><Relationship Id="rId48" Type="http://schemas.openxmlformats.org/officeDocument/2006/relationships/slideLayout" Target="../slideLayouts/slideLayout233.xml"/><Relationship Id="rId56" Type="http://schemas.openxmlformats.org/officeDocument/2006/relationships/slideLayout" Target="../slideLayouts/slideLayout241.xml"/><Relationship Id="rId64" Type="http://schemas.openxmlformats.org/officeDocument/2006/relationships/slideLayout" Target="../slideLayouts/slideLayout249.xml"/><Relationship Id="rId69" Type="http://schemas.openxmlformats.org/officeDocument/2006/relationships/slideLayout" Target="../slideLayouts/slideLayout254.xml"/><Relationship Id="rId8" Type="http://schemas.openxmlformats.org/officeDocument/2006/relationships/slideLayout" Target="../slideLayouts/slideLayout193.xml"/><Relationship Id="rId51" Type="http://schemas.openxmlformats.org/officeDocument/2006/relationships/slideLayout" Target="../slideLayouts/slideLayout236.xml"/><Relationship Id="rId3" Type="http://schemas.openxmlformats.org/officeDocument/2006/relationships/slideLayout" Target="../slideLayouts/slideLayout188.xml"/><Relationship Id="rId12" Type="http://schemas.openxmlformats.org/officeDocument/2006/relationships/slideLayout" Target="../slideLayouts/slideLayout197.xml"/><Relationship Id="rId17" Type="http://schemas.openxmlformats.org/officeDocument/2006/relationships/slideLayout" Target="../slideLayouts/slideLayout202.xml"/><Relationship Id="rId25" Type="http://schemas.openxmlformats.org/officeDocument/2006/relationships/slideLayout" Target="../slideLayouts/slideLayout210.xml"/><Relationship Id="rId33" Type="http://schemas.openxmlformats.org/officeDocument/2006/relationships/slideLayout" Target="../slideLayouts/slideLayout218.xml"/><Relationship Id="rId38" Type="http://schemas.openxmlformats.org/officeDocument/2006/relationships/slideLayout" Target="../slideLayouts/slideLayout223.xml"/><Relationship Id="rId46" Type="http://schemas.openxmlformats.org/officeDocument/2006/relationships/slideLayout" Target="../slideLayouts/slideLayout231.xml"/><Relationship Id="rId59" Type="http://schemas.openxmlformats.org/officeDocument/2006/relationships/slideLayout" Target="../slideLayouts/slideLayout244.xml"/><Relationship Id="rId67" Type="http://schemas.openxmlformats.org/officeDocument/2006/relationships/slideLayout" Target="../slideLayouts/slideLayout252.xml"/><Relationship Id="rId20" Type="http://schemas.openxmlformats.org/officeDocument/2006/relationships/slideLayout" Target="../slideLayouts/slideLayout205.xml"/><Relationship Id="rId41" Type="http://schemas.openxmlformats.org/officeDocument/2006/relationships/slideLayout" Target="../slideLayouts/slideLayout226.xml"/><Relationship Id="rId54" Type="http://schemas.openxmlformats.org/officeDocument/2006/relationships/slideLayout" Target="../slideLayouts/slideLayout239.xml"/><Relationship Id="rId62" Type="http://schemas.openxmlformats.org/officeDocument/2006/relationships/slideLayout" Target="../slideLayouts/slideLayout247.xml"/><Relationship Id="rId70" Type="http://schemas.openxmlformats.org/officeDocument/2006/relationships/theme" Target="../theme/theme7.xml"/><Relationship Id="rId1" Type="http://schemas.openxmlformats.org/officeDocument/2006/relationships/slideLayout" Target="../slideLayouts/slideLayout186.xml"/><Relationship Id="rId6" Type="http://schemas.openxmlformats.org/officeDocument/2006/relationships/slideLayout" Target="../slideLayouts/slideLayout191.xml"/><Relationship Id="rId15" Type="http://schemas.openxmlformats.org/officeDocument/2006/relationships/slideLayout" Target="../slideLayouts/slideLayout200.xml"/><Relationship Id="rId23" Type="http://schemas.openxmlformats.org/officeDocument/2006/relationships/slideLayout" Target="../slideLayouts/slideLayout208.xml"/><Relationship Id="rId28" Type="http://schemas.openxmlformats.org/officeDocument/2006/relationships/slideLayout" Target="../slideLayouts/slideLayout213.xml"/><Relationship Id="rId36" Type="http://schemas.openxmlformats.org/officeDocument/2006/relationships/slideLayout" Target="../slideLayouts/slideLayout221.xml"/><Relationship Id="rId49" Type="http://schemas.openxmlformats.org/officeDocument/2006/relationships/slideLayout" Target="../slideLayouts/slideLayout234.xml"/><Relationship Id="rId57" Type="http://schemas.openxmlformats.org/officeDocument/2006/relationships/slideLayout" Target="../slideLayouts/slideLayout242.xml"/><Relationship Id="rId10" Type="http://schemas.openxmlformats.org/officeDocument/2006/relationships/slideLayout" Target="../slideLayouts/slideLayout195.xml"/><Relationship Id="rId31" Type="http://schemas.openxmlformats.org/officeDocument/2006/relationships/slideLayout" Target="../slideLayouts/slideLayout216.xml"/><Relationship Id="rId44" Type="http://schemas.openxmlformats.org/officeDocument/2006/relationships/slideLayout" Target="../slideLayouts/slideLayout229.xml"/><Relationship Id="rId52" Type="http://schemas.openxmlformats.org/officeDocument/2006/relationships/slideLayout" Target="../slideLayouts/slideLayout237.xml"/><Relationship Id="rId60" Type="http://schemas.openxmlformats.org/officeDocument/2006/relationships/slideLayout" Target="../slideLayouts/slideLayout245.xml"/><Relationship Id="rId65" Type="http://schemas.openxmlformats.org/officeDocument/2006/relationships/slideLayout" Target="../slideLayouts/slideLayout250.xml"/><Relationship Id="rId4" Type="http://schemas.openxmlformats.org/officeDocument/2006/relationships/slideLayout" Target="../slideLayouts/slideLayout189.xml"/><Relationship Id="rId9" Type="http://schemas.openxmlformats.org/officeDocument/2006/relationships/slideLayout" Target="../slideLayouts/slideLayout194.xml"/><Relationship Id="rId13" Type="http://schemas.openxmlformats.org/officeDocument/2006/relationships/slideLayout" Target="../slideLayouts/slideLayout198.xml"/><Relationship Id="rId18" Type="http://schemas.openxmlformats.org/officeDocument/2006/relationships/slideLayout" Target="../slideLayouts/slideLayout203.xml"/><Relationship Id="rId39" Type="http://schemas.openxmlformats.org/officeDocument/2006/relationships/slideLayout" Target="../slideLayouts/slideLayout224.xml"/><Relationship Id="rId34" Type="http://schemas.openxmlformats.org/officeDocument/2006/relationships/slideLayout" Target="../slideLayouts/slideLayout219.xml"/><Relationship Id="rId50" Type="http://schemas.openxmlformats.org/officeDocument/2006/relationships/slideLayout" Target="../slideLayouts/slideLayout235.xml"/><Relationship Id="rId55" Type="http://schemas.openxmlformats.org/officeDocument/2006/relationships/slideLayout" Target="../slideLayouts/slideLayout2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72393" y="366185"/>
            <a:ext cx="10808407" cy="1081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2394" y="1603165"/>
            <a:ext cx="10808405" cy="4133849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GS Doctop Placeholder" hidden="1"/>
          <p:cNvSpPr txBox="1"/>
          <p:nvPr userDrawn="1"/>
        </p:nvSpPr>
        <p:spPr>
          <a:xfrm>
            <a:off x="728134" y="0"/>
            <a:ext cx="7535333" cy="42075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1067" b="0" i="0" dirty="0">
                <a:latin typeface="Arial" charset="0"/>
                <a:ea typeface="Arial" charset="0"/>
                <a:cs typeface="Arial" charset="0"/>
              </a:rPr>
              <a:t>IBDROOT\PROJECTS\IBD-NY\OPERAND2015\583992_1\Presentations\2016-01-25 Analyst Day\Project Elysium - Analyst Day Presentation (Updated 20150121).pptx</a:t>
            </a:r>
          </a:p>
        </p:txBody>
      </p:sp>
    </p:spTree>
    <p:extLst>
      <p:ext uri="{BB962C8B-B14F-4D97-AF65-F5344CB8AC3E}">
        <p14:creationId xmlns:p14="http://schemas.microsoft.com/office/powerpoint/2010/main" val="727895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  <p:sldLayoutId id="2147483689" r:id="rId27"/>
    <p:sldLayoutId id="2147483690" r:id="rId28"/>
    <p:sldLayoutId id="2147483691" r:id="rId29"/>
    <p:sldLayoutId id="2147483692" r:id="rId30"/>
    <p:sldLayoutId id="2147483693" r:id="rId31"/>
    <p:sldLayoutId id="2147483694" r:id="rId32"/>
    <p:sldLayoutId id="2147483695" r:id="rId33"/>
    <p:sldLayoutId id="2147483696" r:id="rId34"/>
    <p:sldLayoutId id="2147483697" r:id="rId35"/>
    <p:sldLayoutId id="2147483698" r:id="rId36"/>
    <p:sldLayoutId id="2147483699" r:id="rId37"/>
    <p:sldLayoutId id="2147483700" r:id="rId38"/>
    <p:sldLayoutId id="2147483701" r:id="rId39"/>
    <p:sldLayoutId id="2147483702" r:id="rId40"/>
    <p:sldLayoutId id="2147483703" r:id="rId41"/>
    <p:sldLayoutId id="2147483704" r:id="rId42"/>
    <p:sldLayoutId id="2147483705" r:id="rId43"/>
    <p:sldLayoutId id="2147483706" r:id="rId44"/>
    <p:sldLayoutId id="2147483707" r:id="rId45"/>
    <p:sldLayoutId id="2147483708" r:id="rId46"/>
    <p:sldLayoutId id="2147483709" r:id="rId47"/>
    <p:sldLayoutId id="2147483710" r:id="rId48"/>
    <p:sldLayoutId id="2147483711" r:id="rId49"/>
    <p:sldLayoutId id="2147483712" r:id="rId50"/>
    <p:sldLayoutId id="2147483713" r:id="rId51"/>
    <p:sldLayoutId id="2147483714" r:id="rId52"/>
    <p:sldLayoutId id="2147483715" r:id="rId53"/>
    <p:sldLayoutId id="2147483716" r:id="rId54"/>
    <p:sldLayoutId id="2147483717" r:id="rId55"/>
    <p:sldLayoutId id="2147483718" r:id="rId56"/>
    <p:sldLayoutId id="2147483719" r:id="rId57"/>
  </p:sldLayoutIdLst>
  <p:hf hdr="0" dt="0"/>
  <p:txStyles>
    <p:titleStyle>
      <a:lvl1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2pPr>
      <a:lvl3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3pPr>
      <a:lvl4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4pPr>
      <a:lvl5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5pPr>
      <a:lvl6pPr marL="609585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6pPr>
      <a:lvl7pPr marL="1219170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7pPr>
      <a:lvl8pPr marL="1828754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8pPr>
      <a:lvl9pPr marL="2438339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9pPr>
    </p:titleStyle>
    <p:bodyStyle>
      <a:lvl1pPr marL="228594" indent="-228594" algn="l" defTabSz="914377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Clr>
          <a:schemeClr val="accent5"/>
        </a:buClr>
        <a:buFont typeface="Arial" charset="0"/>
        <a:buChar char="•"/>
        <a:defRPr sz="28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685783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1142971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sz="20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600160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sz="1733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2057349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sz="1733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84">
          <p15:clr>
            <a:srgbClr val="F26B43"/>
          </p15:clr>
        </p15:guide>
        <p15:guide id="2" pos="312">
          <p15:clr>
            <a:srgbClr val="F26B43"/>
          </p15:clr>
        </p15:guide>
        <p15:guide id="3" orient="horz" pos="3036">
          <p15:clr>
            <a:srgbClr val="F26B43"/>
          </p15:clr>
        </p15:guide>
        <p15:guide id="4" orient="horz" pos="147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0120" y="6431281"/>
            <a:ext cx="10271760" cy="276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5950375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  <p:sldLayoutId id="2147483741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0120" y="6431281"/>
            <a:ext cx="10271760" cy="276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srgbClr val="565656">
                    <a:tint val="75000"/>
                  </a:srgbClr>
                </a:solidFill>
              </a:rPr>
              <a:t>Source</a:t>
            </a:r>
            <a:endParaRPr lang="en-US" dirty="0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975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0120" y="6431281"/>
            <a:ext cx="10271760" cy="276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565656">
                    <a:tint val="75000"/>
                  </a:srgbClr>
                </a:solidFill>
              </a:rPr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7705250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74" r:id="rId16"/>
    <p:sldLayoutId id="2147483775" r:id="rId17"/>
    <p:sldLayoutId id="2147483776" r:id="rId18"/>
    <p:sldLayoutId id="2147483777" r:id="rId19"/>
    <p:sldLayoutId id="2147483778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72393" y="366185"/>
            <a:ext cx="10808407" cy="1081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2394" y="1603165"/>
            <a:ext cx="10808405" cy="4133849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GS Doctop Placeholder" hidden="1"/>
          <p:cNvSpPr txBox="1"/>
          <p:nvPr userDrawn="1"/>
        </p:nvSpPr>
        <p:spPr>
          <a:xfrm>
            <a:off x="728134" y="0"/>
            <a:ext cx="7535333" cy="42075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1067" b="0" i="0" dirty="0">
                <a:latin typeface="Arial" charset="0"/>
                <a:ea typeface="Arial" charset="0"/>
                <a:cs typeface="Arial" charset="0"/>
              </a:rPr>
              <a:t>IBDROOT\PROJECTS\IBD-NY\OPERAND2015\583992_1\Presentations\2016-01-25 Analyst Day\Project Elysium - Analyst Day Presentation (Updated 20150121).</a:t>
            </a:r>
            <a:r>
              <a:rPr lang="en-US" sz="1067" b="0" i="0" dirty="0" err="1">
                <a:latin typeface="Arial" charset="0"/>
                <a:ea typeface="Arial" charset="0"/>
                <a:cs typeface="Arial" charset="0"/>
              </a:rPr>
              <a:t>pptx</a:t>
            </a:r>
            <a:endParaRPr lang="en-US" sz="1067" b="0" i="0" dirty="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057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6" r:id="rId16"/>
    <p:sldLayoutId id="2147483797" r:id="rId17"/>
    <p:sldLayoutId id="2147483798" r:id="rId18"/>
    <p:sldLayoutId id="2147483799" r:id="rId19"/>
    <p:sldLayoutId id="2147483800" r:id="rId20"/>
    <p:sldLayoutId id="2147483801" r:id="rId21"/>
    <p:sldLayoutId id="2147483802" r:id="rId22"/>
    <p:sldLayoutId id="2147483803" r:id="rId23"/>
    <p:sldLayoutId id="2147483804" r:id="rId24"/>
    <p:sldLayoutId id="2147483805" r:id="rId25"/>
    <p:sldLayoutId id="2147483806" r:id="rId26"/>
    <p:sldLayoutId id="2147483807" r:id="rId27"/>
    <p:sldLayoutId id="2147483808" r:id="rId28"/>
    <p:sldLayoutId id="2147483809" r:id="rId29"/>
    <p:sldLayoutId id="2147483810" r:id="rId30"/>
    <p:sldLayoutId id="2147483811" r:id="rId31"/>
    <p:sldLayoutId id="2147483812" r:id="rId32"/>
    <p:sldLayoutId id="2147483813" r:id="rId33"/>
    <p:sldLayoutId id="2147483814" r:id="rId34"/>
    <p:sldLayoutId id="2147483815" r:id="rId35"/>
    <p:sldLayoutId id="2147483816" r:id="rId36"/>
    <p:sldLayoutId id="2147483817" r:id="rId37"/>
    <p:sldLayoutId id="2147483818" r:id="rId38"/>
    <p:sldLayoutId id="2147483819" r:id="rId39"/>
    <p:sldLayoutId id="2147483820" r:id="rId40"/>
    <p:sldLayoutId id="2147483821" r:id="rId41"/>
    <p:sldLayoutId id="2147483822" r:id="rId42"/>
    <p:sldLayoutId id="2147483823" r:id="rId43"/>
    <p:sldLayoutId id="2147483824" r:id="rId44"/>
    <p:sldLayoutId id="2147483825" r:id="rId45"/>
    <p:sldLayoutId id="2147483826" r:id="rId46"/>
    <p:sldLayoutId id="2147483827" r:id="rId47"/>
    <p:sldLayoutId id="2147483828" r:id="rId48"/>
    <p:sldLayoutId id="2147483829" r:id="rId49"/>
    <p:sldLayoutId id="2147483830" r:id="rId50"/>
    <p:sldLayoutId id="2147483831" r:id="rId51"/>
    <p:sldLayoutId id="2147483832" r:id="rId52"/>
    <p:sldLayoutId id="2147483833" r:id="rId53"/>
  </p:sldLayoutIdLst>
  <p:hf hdr="0" dt="0"/>
  <p:txStyles>
    <p:titleStyle>
      <a:lvl1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2pPr>
      <a:lvl3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3pPr>
      <a:lvl4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4pPr>
      <a:lvl5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5pPr>
      <a:lvl6pPr marL="609585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6pPr>
      <a:lvl7pPr marL="1219170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7pPr>
      <a:lvl8pPr marL="1828754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8pPr>
      <a:lvl9pPr marL="2438339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9pPr>
    </p:titleStyle>
    <p:bodyStyle>
      <a:lvl1pPr marL="228594" indent="-228594" algn="l" defTabSz="914377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Clr>
          <a:schemeClr val="accent5"/>
        </a:buClr>
        <a:buFont typeface="Arial" charset="0"/>
        <a:buChar char="•"/>
        <a:defRPr sz="28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685783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1142971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sz="20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600160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sz="1733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2057349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sz="1733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84">
          <p15:clr>
            <a:srgbClr val="F26B43"/>
          </p15:clr>
        </p15:guide>
        <p15:guide id="2" pos="312">
          <p15:clr>
            <a:srgbClr val="F26B43"/>
          </p15:clr>
        </p15:guide>
        <p15:guide id="3" orient="horz" pos="3036">
          <p15:clr>
            <a:srgbClr val="F26B43"/>
          </p15:clr>
        </p15:guide>
        <p15:guide id="4" orient="horz" pos="147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149575738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251" imgH="226" progId="TCLayout.ActiveDocument.1">
                  <p:embed/>
                </p:oleObj>
              </mc:Choice>
              <mc:Fallback>
                <p:oleObj name="think-cell Slide" r:id="rId38" imgW="251" imgH="2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72393" y="366186"/>
            <a:ext cx="10808407" cy="591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2394" y="1362076"/>
            <a:ext cx="10808405" cy="4133849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GS Doctop Placeholder" hidden="1"/>
          <p:cNvSpPr txBox="1"/>
          <p:nvPr/>
        </p:nvSpPr>
        <p:spPr>
          <a:xfrm>
            <a:off x="728134" y="0"/>
            <a:ext cx="7535333" cy="256545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 rtl="0"/>
            <a:r>
              <a:rPr lang="en-US" sz="1067" b="0" i="0">
                <a:latin typeface="Arial" panose="020B0604020202020204" pitchFamily="34" charset="0"/>
                <a:ea typeface="Arial" charset="0"/>
                <a:cs typeface="Arial" panose="020B0604020202020204" pitchFamily="34" charset="0"/>
                <a:sym typeface="Arial" panose="020B0604020202020204" pitchFamily="34" charset="0"/>
              </a:rPr>
              <a:t>ibdroot\projects\IBD-NY\quilted2021\681345_1\01. PPT\2022.01.31 TTW\Management Presentation v76.pptx</a:t>
            </a:r>
          </a:p>
        </p:txBody>
      </p:sp>
      <p:sp>
        <p:nvSpPr>
          <p:cNvPr id="6" name="GS Doctop Placeholder" hidden="1">
            <a:extLst>
              <a:ext uri="{FF2B5EF4-FFF2-40B4-BE49-F238E27FC236}">
                <a16:creationId xmlns:a16="http://schemas.microsoft.com/office/drawing/2014/main" id="{78FFD7DC-7979-1A42-8E53-C9E70A66DBE5}"/>
              </a:ext>
            </a:extLst>
          </p:cNvPr>
          <p:cNvSpPr txBox="1"/>
          <p:nvPr userDrawn="1"/>
        </p:nvSpPr>
        <p:spPr>
          <a:xfrm>
            <a:off x="728134" y="0"/>
            <a:ext cx="7535333" cy="42075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1067" b="0" i="0" dirty="0">
                <a:latin typeface="Arial" charset="0"/>
                <a:ea typeface="Arial" charset="0"/>
                <a:cs typeface="Arial" charset="0"/>
              </a:rPr>
              <a:t>IBDROOT\PROJECTS\IBD-NY\OPERAND2015\583992_1\Presentations\2016-01-25 Analyst Day\Project Elysium - Analyst Day Presentation (Updated 20150121).</a:t>
            </a:r>
            <a:r>
              <a:rPr lang="en-US" sz="1067" b="0" i="0" dirty="0" err="1">
                <a:latin typeface="Arial" charset="0"/>
                <a:ea typeface="Arial" charset="0"/>
                <a:cs typeface="Arial" charset="0"/>
              </a:rPr>
              <a:t>pptx</a:t>
            </a:r>
            <a:endParaRPr lang="en-US" sz="1067" b="0" i="0" dirty="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5703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  <p:sldLayoutId id="2147483849" r:id="rId12"/>
    <p:sldLayoutId id="2147483850" r:id="rId13"/>
    <p:sldLayoutId id="2147483851" r:id="rId14"/>
    <p:sldLayoutId id="2147483852" r:id="rId15"/>
    <p:sldLayoutId id="2147483853" r:id="rId16"/>
    <p:sldLayoutId id="2147483854" r:id="rId17"/>
    <p:sldLayoutId id="2147483855" r:id="rId18"/>
    <p:sldLayoutId id="2147483856" r:id="rId19"/>
    <p:sldLayoutId id="2147483857" r:id="rId20"/>
    <p:sldLayoutId id="2147483858" r:id="rId21"/>
    <p:sldLayoutId id="2147483859" r:id="rId22"/>
    <p:sldLayoutId id="2147483860" r:id="rId23"/>
    <p:sldLayoutId id="2147483861" r:id="rId24"/>
    <p:sldLayoutId id="2147483862" r:id="rId25"/>
    <p:sldLayoutId id="2147483863" r:id="rId26"/>
    <p:sldLayoutId id="2147483864" r:id="rId27"/>
    <p:sldLayoutId id="2147483865" r:id="rId28"/>
    <p:sldLayoutId id="2147483866" r:id="rId29"/>
    <p:sldLayoutId id="2147483867" r:id="rId30"/>
    <p:sldLayoutId id="2147483868" r:id="rId31"/>
    <p:sldLayoutId id="2147483869" r:id="rId32"/>
    <p:sldLayoutId id="2147483870" r:id="rId33"/>
    <p:sldLayoutId id="2147483871" r:id="rId34"/>
    <p:sldLayoutId id="2147483872" r:id="rId35"/>
  </p:sldLayoutIdLst>
  <p:hf hdr="0" dt="0"/>
  <p:txStyles>
    <p:titleStyle>
      <a:lvl1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1" i="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2pPr>
      <a:lvl3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3pPr>
      <a:lvl4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4pPr>
      <a:lvl5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5pPr>
      <a:lvl6pPr marL="609585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6pPr>
      <a:lvl7pPr marL="1219170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7pPr>
      <a:lvl8pPr marL="1828754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8pPr>
      <a:lvl9pPr marL="2438339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9pPr>
    </p:titleStyle>
    <p:bodyStyle>
      <a:lvl1pPr marL="228594" indent="-228594" algn="l" defTabSz="914377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Clr>
          <a:schemeClr val="accent5"/>
        </a:buClr>
        <a:buFont typeface="Arial" charset="0"/>
        <a:buChar char="•"/>
        <a:defRPr sz="2800" b="0" i="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L="685783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b="0" i="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1142971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sz="2000" b="0" i="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1600160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sz="1733" b="0" i="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2057349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sz="1733" b="0" i="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orient="horz" pos="3084">
          <p15:clr>
            <a:srgbClr val="F26B43"/>
          </p15:clr>
        </p15:guide>
        <p15:guide id="6" pos="312">
          <p15:clr>
            <a:srgbClr val="F26B43"/>
          </p15:clr>
        </p15:guide>
        <p15:guide id="7" orient="horz" pos="3036">
          <p15:clr>
            <a:srgbClr val="F26B43"/>
          </p15:clr>
        </p15:guide>
        <p15:guide id="8" orient="horz" pos="1476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72393" y="366185"/>
            <a:ext cx="10808407" cy="1081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2394" y="1603165"/>
            <a:ext cx="10808405" cy="4133849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GS Doctop Placeholder" hidden="1"/>
          <p:cNvSpPr txBox="1"/>
          <p:nvPr userDrawn="1"/>
        </p:nvSpPr>
        <p:spPr>
          <a:xfrm>
            <a:off x="728134" y="0"/>
            <a:ext cx="7535333" cy="42075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1067" b="0" i="0">
                <a:latin typeface="Arial" charset="0"/>
                <a:ea typeface="Arial" charset="0"/>
                <a:cs typeface="Arial" charset="0"/>
              </a:rPr>
              <a:t>IBDROOT\PROJECTS\IBD-NY\OPERAND2015\583992_1\Presentations\2016-01-25 Analyst Day\Project Elysium - Analyst Day Presentation (Updated 20150121).</a:t>
            </a:r>
            <a:r>
              <a:rPr lang="en-US" sz="1067" b="0" i="0" err="1">
                <a:latin typeface="Arial" charset="0"/>
                <a:ea typeface="Arial" charset="0"/>
                <a:cs typeface="Arial" charset="0"/>
              </a:rPr>
              <a:t>pptx</a:t>
            </a:r>
            <a:endParaRPr lang="en-US" sz="1067" b="0" i="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4207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2" r:id="rId9"/>
    <p:sldLayoutId id="2147483883" r:id="rId10"/>
    <p:sldLayoutId id="2147483884" r:id="rId11"/>
    <p:sldLayoutId id="2147483885" r:id="rId12"/>
    <p:sldLayoutId id="2147483886" r:id="rId13"/>
    <p:sldLayoutId id="2147483887" r:id="rId14"/>
    <p:sldLayoutId id="2147483888" r:id="rId15"/>
    <p:sldLayoutId id="2147483889" r:id="rId16"/>
    <p:sldLayoutId id="2147483890" r:id="rId17"/>
    <p:sldLayoutId id="2147483891" r:id="rId18"/>
    <p:sldLayoutId id="2147483892" r:id="rId19"/>
    <p:sldLayoutId id="2147483893" r:id="rId20"/>
    <p:sldLayoutId id="2147483894" r:id="rId21"/>
    <p:sldLayoutId id="2147483895" r:id="rId22"/>
    <p:sldLayoutId id="2147483896" r:id="rId23"/>
    <p:sldLayoutId id="2147483897" r:id="rId24"/>
    <p:sldLayoutId id="2147483898" r:id="rId25"/>
    <p:sldLayoutId id="2147483899" r:id="rId26"/>
    <p:sldLayoutId id="2147483900" r:id="rId27"/>
    <p:sldLayoutId id="2147483901" r:id="rId28"/>
    <p:sldLayoutId id="2147483902" r:id="rId29"/>
    <p:sldLayoutId id="2147483903" r:id="rId30"/>
    <p:sldLayoutId id="2147483904" r:id="rId31"/>
    <p:sldLayoutId id="2147483905" r:id="rId32"/>
    <p:sldLayoutId id="2147483906" r:id="rId33"/>
    <p:sldLayoutId id="2147483907" r:id="rId34"/>
    <p:sldLayoutId id="2147483908" r:id="rId35"/>
    <p:sldLayoutId id="2147483909" r:id="rId36"/>
    <p:sldLayoutId id="2147483910" r:id="rId37"/>
    <p:sldLayoutId id="2147483911" r:id="rId38"/>
    <p:sldLayoutId id="2147483912" r:id="rId39"/>
    <p:sldLayoutId id="2147483913" r:id="rId40"/>
    <p:sldLayoutId id="2147483914" r:id="rId41"/>
    <p:sldLayoutId id="2147483915" r:id="rId42"/>
    <p:sldLayoutId id="2147483916" r:id="rId43"/>
    <p:sldLayoutId id="2147483917" r:id="rId44"/>
    <p:sldLayoutId id="2147483918" r:id="rId45"/>
    <p:sldLayoutId id="2147483919" r:id="rId46"/>
    <p:sldLayoutId id="2147483920" r:id="rId47"/>
    <p:sldLayoutId id="2147483921" r:id="rId48"/>
    <p:sldLayoutId id="2147483922" r:id="rId49"/>
    <p:sldLayoutId id="2147483923" r:id="rId50"/>
    <p:sldLayoutId id="2147483924" r:id="rId51"/>
    <p:sldLayoutId id="2147483925" r:id="rId52"/>
    <p:sldLayoutId id="2147483926" r:id="rId53"/>
    <p:sldLayoutId id="2147483927" r:id="rId54"/>
    <p:sldLayoutId id="2147483928" r:id="rId55"/>
    <p:sldLayoutId id="2147483929" r:id="rId56"/>
    <p:sldLayoutId id="2147483930" r:id="rId57"/>
    <p:sldLayoutId id="2147483931" r:id="rId58"/>
    <p:sldLayoutId id="2147483932" r:id="rId59"/>
    <p:sldLayoutId id="2147483933" r:id="rId60"/>
    <p:sldLayoutId id="2147483934" r:id="rId61"/>
    <p:sldLayoutId id="2147483935" r:id="rId62"/>
    <p:sldLayoutId id="2147483936" r:id="rId63"/>
    <p:sldLayoutId id="2147483937" r:id="rId64"/>
    <p:sldLayoutId id="2147483938" r:id="rId65"/>
    <p:sldLayoutId id="2147483939" r:id="rId66"/>
    <p:sldLayoutId id="2147483940" r:id="rId67"/>
    <p:sldLayoutId id="2147483941" r:id="rId68"/>
    <p:sldLayoutId id="2147483942" r:id="rId69"/>
  </p:sldLayoutIdLst>
  <p:hf hdr="0" dt="0"/>
  <p:txStyles>
    <p:titleStyle>
      <a:lvl1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2pPr>
      <a:lvl3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3pPr>
      <a:lvl4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4pPr>
      <a:lvl5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5pPr>
      <a:lvl6pPr marL="609585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6pPr>
      <a:lvl7pPr marL="1219170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7pPr>
      <a:lvl8pPr marL="1828754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8pPr>
      <a:lvl9pPr marL="2438339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9pPr>
    </p:titleStyle>
    <p:bodyStyle>
      <a:lvl1pPr marL="228594" indent="-228594" algn="l" defTabSz="914377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Clr>
          <a:schemeClr val="accent5"/>
        </a:buClr>
        <a:buFont typeface="Arial" charset="0"/>
        <a:buChar char="•"/>
        <a:defRPr sz="28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685783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1142971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sz="20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600160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sz="1733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2057349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sz="1733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84">
          <p15:clr>
            <a:srgbClr val="F26B43"/>
          </p15:clr>
        </p15:guide>
        <p15:guide id="2" pos="312">
          <p15:clr>
            <a:srgbClr val="F26B43"/>
          </p15:clr>
        </p15:guide>
        <p15:guide id="3" orient="horz" pos="3036">
          <p15:clr>
            <a:srgbClr val="F26B43"/>
          </p15:clr>
        </p15:guide>
        <p15:guide id="4" orient="horz" pos="14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jpeg"/><Relationship Id="rId3" Type="http://schemas.openxmlformats.org/officeDocument/2006/relationships/image" Target="../media/image88.png"/><Relationship Id="rId7" Type="http://schemas.openxmlformats.org/officeDocument/2006/relationships/image" Target="../media/image92.svg"/><Relationship Id="rId12" Type="http://schemas.openxmlformats.org/officeDocument/2006/relationships/image" Target="../media/image9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91.png"/><Relationship Id="rId11" Type="http://schemas.openxmlformats.org/officeDocument/2006/relationships/image" Target="../media/image96.png"/><Relationship Id="rId5" Type="http://schemas.openxmlformats.org/officeDocument/2006/relationships/image" Target="../media/image90.svg"/><Relationship Id="rId10" Type="http://schemas.openxmlformats.org/officeDocument/2006/relationships/image" Target="../media/image95.jpeg"/><Relationship Id="rId4" Type="http://schemas.openxmlformats.org/officeDocument/2006/relationships/image" Target="../media/image89.png"/><Relationship Id="rId9" Type="http://schemas.openxmlformats.org/officeDocument/2006/relationships/image" Target="../media/image9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2" name="Picture 18">
            <a:extLst>
              <a:ext uri="{FF2B5EF4-FFF2-40B4-BE49-F238E27FC236}">
                <a16:creationId xmlns:a16="http://schemas.microsoft.com/office/drawing/2014/main" id="{1EE15652-0217-F914-E69F-74B42098BD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30" t="62057" r="18179" b="18983"/>
          <a:stretch/>
        </p:blipFill>
        <p:spPr bwMode="auto">
          <a:xfrm>
            <a:off x="8973495" y="2732678"/>
            <a:ext cx="914062" cy="534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7" name="Group 120">
            <a:extLst>
              <a:ext uri="{FF2B5EF4-FFF2-40B4-BE49-F238E27FC236}">
                <a16:creationId xmlns:a16="http://schemas.microsoft.com/office/drawing/2014/main" id="{A1B23996-D291-089B-1743-491B3242DD76}"/>
              </a:ext>
            </a:extLst>
          </p:cNvPr>
          <p:cNvGrpSpPr/>
          <p:nvPr/>
        </p:nvGrpSpPr>
        <p:grpSpPr>
          <a:xfrm>
            <a:off x="9912398" y="2060848"/>
            <a:ext cx="1718211" cy="738554"/>
            <a:chOff x="4943603" y="1867615"/>
            <a:chExt cx="2850160" cy="1171610"/>
          </a:xfrm>
          <a:effectLst/>
        </p:grpSpPr>
        <p:sp>
          <p:nvSpPr>
            <p:cNvPr id="68" name="Up Arrow 36">
              <a:extLst>
                <a:ext uri="{FF2B5EF4-FFF2-40B4-BE49-F238E27FC236}">
                  <a16:creationId xmlns:a16="http://schemas.microsoft.com/office/drawing/2014/main" id="{F14DC438-4369-E026-2E96-C08BCEF93F93}"/>
                </a:ext>
              </a:extLst>
            </p:cNvPr>
            <p:cNvSpPr/>
            <p:nvPr/>
          </p:nvSpPr>
          <p:spPr>
            <a:xfrm rot="16200000" flipV="1">
              <a:off x="5782878" y="1028340"/>
              <a:ext cx="1171610" cy="2850160"/>
            </a:xfrm>
            <a:prstGeom prst="upArrow">
              <a:avLst>
                <a:gd name="adj1" fmla="val 74835"/>
                <a:gd name="adj2" fmla="val 20783"/>
              </a:avLst>
            </a:prstGeom>
            <a:gradFill>
              <a:gsLst>
                <a:gs pos="69000">
                  <a:srgbClr val="009845"/>
                </a:gs>
                <a:gs pos="100000">
                  <a:schemeClr val="bg1">
                    <a:lumMod val="85000"/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9" name="TextBox 122">
              <a:extLst>
                <a:ext uri="{FF2B5EF4-FFF2-40B4-BE49-F238E27FC236}">
                  <a16:creationId xmlns:a16="http://schemas.microsoft.com/office/drawing/2014/main" id="{FBF17790-8FA0-B907-ECFC-FF8040DABF46}"/>
                </a:ext>
              </a:extLst>
            </p:cNvPr>
            <p:cNvSpPr txBox="1"/>
            <p:nvPr/>
          </p:nvSpPr>
          <p:spPr>
            <a:xfrm>
              <a:off x="5579126" y="2148886"/>
              <a:ext cx="1947119" cy="673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srgbClr val="FFFFFF"/>
                  </a:solidFill>
                  <a:latin typeface="Arial" panose="020B0604020202020204"/>
                </a:rPr>
                <a:t>Data Analysis and Insights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3B3D1387-3637-4C4B-BAFF-B50D8791901C}"/>
              </a:ext>
            </a:extLst>
          </p:cNvPr>
          <p:cNvGrpSpPr/>
          <p:nvPr/>
        </p:nvGrpSpPr>
        <p:grpSpPr>
          <a:xfrm>
            <a:off x="1417705" y="2029895"/>
            <a:ext cx="2009839" cy="738554"/>
            <a:chOff x="4943603" y="1867615"/>
            <a:chExt cx="2850160" cy="1171610"/>
          </a:xfrm>
          <a:effectLst/>
        </p:grpSpPr>
        <p:sp>
          <p:nvSpPr>
            <p:cNvPr id="122" name="Up Arrow 36">
              <a:extLst>
                <a:ext uri="{FF2B5EF4-FFF2-40B4-BE49-F238E27FC236}">
                  <a16:creationId xmlns:a16="http://schemas.microsoft.com/office/drawing/2014/main" id="{215FAD32-871B-4720-9BBF-DF0046B4F975}"/>
                </a:ext>
              </a:extLst>
            </p:cNvPr>
            <p:cNvSpPr/>
            <p:nvPr/>
          </p:nvSpPr>
          <p:spPr>
            <a:xfrm rot="16200000" flipV="1">
              <a:off x="5782878" y="1028340"/>
              <a:ext cx="1171610" cy="2850160"/>
            </a:xfrm>
            <a:prstGeom prst="upArrow">
              <a:avLst>
                <a:gd name="adj1" fmla="val 74835"/>
                <a:gd name="adj2" fmla="val 20783"/>
              </a:avLst>
            </a:prstGeom>
            <a:gradFill>
              <a:gsLst>
                <a:gs pos="69000">
                  <a:srgbClr val="009845"/>
                </a:gs>
                <a:gs pos="100000">
                  <a:schemeClr val="bg1">
                    <a:lumMod val="85000"/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B4DF1978-505B-49A2-92B9-4B1A77FC1570}"/>
                </a:ext>
              </a:extLst>
            </p:cNvPr>
            <p:cNvSpPr txBox="1"/>
            <p:nvPr/>
          </p:nvSpPr>
          <p:spPr>
            <a:xfrm>
              <a:off x="5548519" y="2265794"/>
              <a:ext cx="1947119" cy="4101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xtract Data</a:t>
              </a:r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25D74DBB-B9EF-4110-B95C-BCB0E5020FE3}"/>
              </a:ext>
            </a:extLst>
          </p:cNvPr>
          <p:cNvGrpSpPr/>
          <p:nvPr/>
        </p:nvGrpSpPr>
        <p:grpSpPr>
          <a:xfrm>
            <a:off x="689218" y="2159209"/>
            <a:ext cx="379808" cy="584763"/>
            <a:chOff x="1284066" y="3498753"/>
            <a:chExt cx="399188" cy="614602"/>
          </a:xfrm>
        </p:grpSpPr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5A6F3F89-86CE-4571-B218-0004251580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2455" y="4002555"/>
              <a:ext cx="320601" cy="110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377" rtl="0" eaLnBrk="0" fontAlgn="base" latinLnBrk="0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6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ILES</a:t>
              </a:r>
            </a:p>
          </p:txBody>
        </p:sp>
        <p:pic>
          <p:nvPicPr>
            <p:cNvPr id="135" name="Graphic 134">
              <a:extLst>
                <a:ext uri="{FF2B5EF4-FFF2-40B4-BE49-F238E27FC236}">
                  <a16:creationId xmlns:a16="http://schemas.microsoft.com/office/drawing/2014/main" id="{CA645B02-C089-487A-A210-308203EC24F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284066" y="3498753"/>
              <a:ext cx="399188" cy="444747"/>
            </a:xfrm>
            <a:prstGeom prst="rect">
              <a:avLst/>
            </a:prstGeom>
          </p:spPr>
        </p:pic>
      </p:grpSp>
      <p:grpSp>
        <p:nvGrpSpPr>
          <p:cNvPr id="11" name="Group 138">
            <a:extLst>
              <a:ext uri="{FF2B5EF4-FFF2-40B4-BE49-F238E27FC236}">
                <a16:creationId xmlns:a16="http://schemas.microsoft.com/office/drawing/2014/main" id="{9A1694D9-9612-81B0-4B40-42924F06CE41}"/>
              </a:ext>
            </a:extLst>
          </p:cNvPr>
          <p:cNvGrpSpPr/>
          <p:nvPr/>
        </p:nvGrpSpPr>
        <p:grpSpPr>
          <a:xfrm>
            <a:off x="6415067" y="2154392"/>
            <a:ext cx="396547" cy="530749"/>
            <a:chOff x="1263107" y="1935394"/>
            <a:chExt cx="416781" cy="557830"/>
          </a:xfrm>
        </p:grpSpPr>
        <p:sp>
          <p:nvSpPr>
            <p:cNvPr id="12" name="Rectangle 139">
              <a:extLst>
                <a:ext uri="{FF2B5EF4-FFF2-40B4-BE49-F238E27FC236}">
                  <a16:creationId xmlns:a16="http://schemas.microsoft.com/office/drawing/2014/main" id="{8304D1A0-17CB-6355-2CCD-705FDE2445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63107" y="2382424"/>
              <a:ext cx="416781" cy="110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377" rtl="0" eaLnBrk="0" fontAlgn="base" latinLnBrk="0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456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DBMS</a:t>
              </a:r>
            </a:p>
          </p:txBody>
        </p:sp>
        <p:pic>
          <p:nvPicPr>
            <p:cNvPr id="13" name="Graphic 140">
              <a:extLst>
                <a:ext uri="{FF2B5EF4-FFF2-40B4-BE49-F238E27FC236}">
                  <a16:creationId xmlns:a16="http://schemas.microsoft.com/office/drawing/2014/main" id="{E840FCD6-A673-3D6F-7D22-454C646F3C0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335085" y="1935394"/>
              <a:ext cx="262517" cy="365241"/>
            </a:xfrm>
            <a:prstGeom prst="rect">
              <a:avLst/>
            </a:prstGeom>
          </p:spPr>
        </p:pic>
      </p:grpSp>
      <p:pic>
        <p:nvPicPr>
          <p:cNvPr id="20" name="Picture 2" descr="Stream World Bank | Listen to podcast episodes online for free on SoundCloud">
            <a:extLst>
              <a:ext uri="{FF2B5EF4-FFF2-40B4-BE49-F238E27FC236}">
                <a16:creationId xmlns:a16="http://schemas.microsoft.com/office/drawing/2014/main" id="{6D59A3DB-7C9D-4FA6-C0F1-583F3F3C1D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83" y="2495072"/>
            <a:ext cx="653181" cy="65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52">
            <a:extLst>
              <a:ext uri="{FF2B5EF4-FFF2-40B4-BE49-F238E27FC236}">
                <a16:creationId xmlns:a16="http://schemas.microsoft.com/office/drawing/2014/main" id="{29B95A45-3CA7-4951-2B78-C7FB4C93180C}"/>
              </a:ext>
            </a:extLst>
          </p:cNvPr>
          <p:cNvSpPr txBox="1"/>
          <p:nvPr/>
        </p:nvSpPr>
        <p:spPr>
          <a:xfrm>
            <a:off x="3937902" y="2702829"/>
            <a:ext cx="1937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5456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lend Data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456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gra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456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34" name="Picture 10" descr="Qlik Beyond Dashboards">
            <a:extLst>
              <a:ext uri="{FF2B5EF4-FFF2-40B4-BE49-F238E27FC236}">
                <a16:creationId xmlns:a16="http://schemas.microsoft.com/office/drawing/2014/main" id="{83367A4D-9303-51DC-15EE-F14CC40C0A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9747" y="2118322"/>
            <a:ext cx="589609" cy="583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TextBox 52">
            <a:extLst>
              <a:ext uri="{FF2B5EF4-FFF2-40B4-BE49-F238E27FC236}">
                <a16:creationId xmlns:a16="http://schemas.microsoft.com/office/drawing/2014/main" id="{ABEB4744-FAE4-9518-F842-1A481152B2CB}"/>
              </a:ext>
            </a:extLst>
          </p:cNvPr>
          <p:cNvSpPr txBox="1"/>
          <p:nvPr/>
        </p:nvSpPr>
        <p:spPr>
          <a:xfrm>
            <a:off x="10026711" y="2781376"/>
            <a:ext cx="15076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5456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lik Cloud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456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74" name="Group 120">
            <a:extLst>
              <a:ext uri="{FF2B5EF4-FFF2-40B4-BE49-F238E27FC236}">
                <a16:creationId xmlns:a16="http://schemas.microsoft.com/office/drawing/2014/main" id="{15009F56-63BB-2993-925C-9BF8C1372633}"/>
              </a:ext>
            </a:extLst>
          </p:cNvPr>
          <p:cNvGrpSpPr/>
          <p:nvPr/>
        </p:nvGrpSpPr>
        <p:grpSpPr>
          <a:xfrm>
            <a:off x="7301230" y="2060848"/>
            <a:ext cx="1718211" cy="738554"/>
            <a:chOff x="4943603" y="1867615"/>
            <a:chExt cx="2850160" cy="1171610"/>
          </a:xfrm>
          <a:effectLst/>
        </p:grpSpPr>
        <p:sp>
          <p:nvSpPr>
            <p:cNvPr id="75" name="Up Arrow 36">
              <a:extLst>
                <a:ext uri="{FF2B5EF4-FFF2-40B4-BE49-F238E27FC236}">
                  <a16:creationId xmlns:a16="http://schemas.microsoft.com/office/drawing/2014/main" id="{A7DB6014-BA87-F278-D7B2-F157FBA0F010}"/>
                </a:ext>
              </a:extLst>
            </p:cNvPr>
            <p:cNvSpPr/>
            <p:nvPr/>
          </p:nvSpPr>
          <p:spPr>
            <a:xfrm rot="16200000" flipV="1">
              <a:off x="5782878" y="1028340"/>
              <a:ext cx="1171610" cy="2850160"/>
            </a:xfrm>
            <a:prstGeom prst="upArrow">
              <a:avLst>
                <a:gd name="adj1" fmla="val 74835"/>
                <a:gd name="adj2" fmla="val 20783"/>
              </a:avLst>
            </a:prstGeom>
            <a:gradFill>
              <a:gsLst>
                <a:gs pos="69000">
                  <a:srgbClr val="009845"/>
                </a:gs>
                <a:gs pos="100000">
                  <a:schemeClr val="bg1">
                    <a:lumMod val="85000"/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TextBox 122">
              <a:extLst>
                <a:ext uri="{FF2B5EF4-FFF2-40B4-BE49-F238E27FC236}">
                  <a16:creationId xmlns:a16="http://schemas.microsoft.com/office/drawing/2014/main" id="{763BAE61-6AED-FFC4-5D7B-886DD42D46E3}"/>
                </a:ext>
              </a:extLst>
            </p:cNvPr>
            <p:cNvSpPr txBox="1"/>
            <p:nvPr/>
          </p:nvSpPr>
          <p:spPr>
            <a:xfrm>
              <a:off x="5579126" y="2148886"/>
              <a:ext cx="1947119" cy="673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end Data to</a:t>
              </a:r>
            </a:p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srgbClr val="FFFFFF"/>
                  </a:solidFill>
                  <a:latin typeface="Arial" panose="020B0604020202020204"/>
                </a:rPr>
                <a:t>Qlik Cloud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pic>
        <p:nvPicPr>
          <p:cNvPr id="77" name="Picture 8" descr="Qlik - YouTube">
            <a:extLst>
              <a:ext uri="{FF2B5EF4-FFF2-40B4-BE49-F238E27FC236}">
                <a16:creationId xmlns:a16="http://schemas.microsoft.com/office/drawing/2014/main" id="{C9D0727D-01F9-6946-3D53-BFE44F591E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EFFFF"/>
              </a:clrFrom>
              <a:clrTo>
                <a:srgbClr val="FE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8717" y="2138402"/>
            <a:ext cx="548680" cy="548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>
            <a:extLst>
              <a:ext uri="{FF2B5EF4-FFF2-40B4-BE49-F238E27FC236}">
                <a16:creationId xmlns:a16="http://schemas.microsoft.com/office/drawing/2014/main" id="{4C93E09D-25AC-962C-D6BE-EF834D20B43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17" t="1355" r="34880" b="68560"/>
          <a:stretch/>
        </p:blipFill>
        <p:spPr bwMode="auto">
          <a:xfrm>
            <a:off x="11254217" y="2644851"/>
            <a:ext cx="914061" cy="565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2" name="Group 120">
            <a:extLst>
              <a:ext uri="{FF2B5EF4-FFF2-40B4-BE49-F238E27FC236}">
                <a16:creationId xmlns:a16="http://schemas.microsoft.com/office/drawing/2014/main" id="{A922ABC4-9253-E341-7149-8A52A7ADA09F}"/>
              </a:ext>
            </a:extLst>
          </p:cNvPr>
          <p:cNvGrpSpPr/>
          <p:nvPr/>
        </p:nvGrpSpPr>
        <p:grpSpPr>
          <a:xfrm>
            <a:off x="3937902" y="2051573"/>
            <a:ext cx="2009839" cy="738554"/>
            <a:chOff x="4943603" y="1867615"/>
            <a:chExt cx="2850160" cy="1171610"/>
          </a:xfrm>
          <a:effectLst/>
        </p:grpSpPr>
        <p:sp>
          <p:nvSpPr>
            <p:cNvPr id="93" name="Up Arrow 36">
              <a:extLst>
                <a:ext uri="{FF2B5EF4-FFF2-40B4-BE49-F238E27FC236}">
                  <a16:creationId xmlns:a16="http://schemas.microsoft.com/office/drawing/2014/main" id="{186377AA-5764-F62E-A226-9E0C06022B8B}"/>
                </a:ext>
              </a:extLst>
            </p:cNvPr>
            <p:cNvSpPr/>
            <p:nvPr/>
          </p:nvSpPr>
          <p:spPr>
            <a:xfrm rot="16200000" flipV="1">
              <a:off x="5782878" y="1028340"/>
              <a:ext cx="1171610" cy="2850160"/>
            </a:xfrm>
            <a:prstGeom prst="upArrow">
              <a:avLst>
                <a:gd name="adj1" fmla="val 74835"/>
                <a:gd name="adj2" fmla="val 20783"/>
              </a:avLst>
            </a:prstGeom>
            <a:gradFill>
              <a:gsLst>
                <a:gs pos="69000">
                  <a:srgbClr val="009845"/>
                </a:gs>
                <a:gs pos="100000">
                  <a:schemeClr val="bg1">
                    <a:lumMod val="85000"/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4" name="TextBox 122">
              <a:extLst>
                <a:ext uri="{FF2B5EF4-FFF2-40B4-BE49-F238E27FC236}">
                  <a16:creationId xmlns:a16="http://schemas.microsoft.com/office/drawing/2014/main" id="{A940BA59-A23A-8C31-882C-F1B779D00BC8}"/>
                </a:ext>
              </a:extLst>
            </p:cNvPr>
            <p:cNvSpPr txBox="1"/>
            <p:nvPr/>
          </p:nvSpPr>
          <p:spPr>
            <a:xfrm>
              <a:off x="5579126" y="2148886"/>
              <a:ext cx="1947119" cy="673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oad </a:t>
              </a:r>
            </a:p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Data</a:t>
              </a:r>
            </a:p>
          </p:txBody>
        </p:sp>
      </p:grpSp>
      <p:pic>
        <p:nvPicPr>
          <p:cNvPr id="95" name="Picture 4" descr="Talend | A Complete, Scalable Data Management Solution | Talend">
            <a:extLst>
              <a:ext uri="{FF2B5EF4-FFF2-40B4-BE49-F238E27FC236}">
                <a16:creationId xmlns:a16="http://schemas.microsoft.com/office/drawing/2014/main" id="{96BF79B1-7FC2-B700-5022-96A326AC7A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51" t="7268" r="27945" b="8058"/>
          <a:stretch/>
        </p:blipFill>
        <p:spPr bwMode="auto">
          <a:xfrm>
            <a:off x="1179783" y="2101662"/>
            <a:ext cx="581571" cy="584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6" name="TextBox 52">
            <a:extLst>
              <a:ext uri="{FF2B5EF4-FFF2-40B4-BE49-F238E27FC236}">
                <a16:creationId xmlns:a16="http://schemas.microsoft.com/office/drawing/2014/main" id="{4388E585-573F-799E-340A-FD3AADD5CD87}"/>
              </a:ext>
            </a:extLst>
          </p:cNvPr>
          <p:cNvSpPr txBox="1"/>
          <p:nvPr/>
        </p:nvSpPr>
        <p:spPr>
          <a:xfrm>
            <a:off x="1440198" y="2722934"/>
            <a:ext cx="1937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5456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lend Data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456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gra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456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28" name="Picture 4" descr="Talend | A Complete, Scalable Data Management Solution | Talend">
            <a:extLst>
              <a:ext uri="{FF2B5EF4-FFF2-40B4-BE49-F238E27FC236}">
                <a16:creationId xmlns:a16="http://schemas.microsoft.com/office/drawing/2014/main" id="{757CF71C-D9AB-40BC-A247-5C7952DA6E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51" t="7268" r="27945" b="8058"/>
          <a:stretch/>
        </p:blipFill>
        <p:spPr bwMode="auto">
          <a:xfrm>
            <a:off x="3715760" y="2100827"/>
            <a:ext cx="581571" cy="584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8" descr="Image result for Postgres">
            <a:extLst>
              <a:ext uri="{FF2B5EF4-FFF2-40B4-BE49-F238E27FC236}">
                <a16:creationId xmlns:a16="http://schemas.microsoft.com/office/drawing/2014/main" id="{58161F97-7C6B-816E-6496-3DC951486A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843" b="18656"/>
          <a:stretch/>
        </p:blipFill>
        <p:spPr bwMode="auto">
          <a:xfrm>
            <a:off x="6168732" y="2793056"/>
            <a:ext cx="983720" cy="385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52">
            <a:extLst>
              <a:ext uri="{FF2B5EF4-FFF2-40B4-BE49-F238E27FC236}">
                <a16:creationId xmlns:a16="http://schemas.microsoft.com/office/drawing/2014/main" id="{B05271BF-B419-F6BC-3AAD-5F40B33B15CF}"/>
              </a:ext>
            </a:extLst>
          </p:cNvPr>
          <p:cNvSpPr txBox="1"/>
          <p:nvPr/>
        </p:nvSpPr>
        <p:spPr>
          <a:xfrm>
            <a:off x="7512520" y="2746850"/>
            <a:ext cx="14361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5456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lik Data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456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fe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456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9" name="Picture 8" descr="Qlik - YouTube">
            <a:extLst>
              <a:ext uri="{FF2B5EF4-FFF2-40B4-BE49-F238E27FC236}">
                <a16:creationId xmlns:a16="http://schemas.microsoft.com/office/drawing/2014/main" id="{964F0F56-4DB4-48D1-233A-AA149A67F2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EFFFF"/>
              </a:clrFrom>
              <a:clrTo>
                <a:srgbClr val="FE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7263" y="2166905"/>
            <a:ext cx="548680" cy="548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7" name="Text Placeholder 3">
            <a:extLst>
              <a:ext uri="{FF2B5EF4-FFF2-40B4-BE49-F238E27FC236}">
                <a16:creationId xmlns:a16="http://schemas.microsoft.com/office/drawing/2014/main" id="{9985737E-CA0D-8048-FF4A-DFF126A7C1F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51" y="3802942"/>
            <a:ext cx="10808407" cy="1892718"/>
          </a:xfrm>
        </p:spPr>
        <p:txBody>
          <a:bodyPr/>
          <a:lstStyle/>
          <a:p>
            <a:pPr marL="514350" indent="-514350">
              <a:buAutoNum type="arabicPeriod"/>
            </a:pPr>
            <a:r>
              <a:rPr lang="en-GB" sz="2000" b="1" dirty="0">
                <a:solidFill>
                  <a:srgbClr val="009845"/>
                </a:solidFill>
              </a:rPr>
              <a:t>Extract data from World Bank</a:t>
            </a:r>
          </a:p>
          <a:p>
            <a:pPr marL="514350" indent="-514350">
              <a:buAutoNum type="arabicPeriod"/>
            </a:pPr>
            <a:r>
              <a:rPr lang="en-GB" sz="2000" b="1" dirty="0">
                <a:solidFill>
                  <a:srgbClr val="009845"/>
                </a:solidFill>
              </a:rPr>
              <a:t>Load data into Postgres database</a:t>
            </a:r>
          </a:p>
          <a:p>
            <a:pPr marL="514350" indent="-514350">
              <a:buAutoNum type="arabicPeriod"/>
            </a:pPr>
            <a:r>
              <a:rPr lang="en-GB" sz="2000" b="1" dirty="0">
                <a:solidFill>
                  <a:srgbClr val="009845"/>
                </a:solidFill>
              </a:rPr>
              <a:t>Extract data from Postgres database and generate QVD files</a:t>
            </a:r>
          </a:p>
          <a:p>
            <a:pPr marL="514350" indent="-514350">
              <a:buAutoNum type="arabicPeriod"/>
            </a:pPr>
            <a:r>
              <a:rPr lang="en-GB" sz="2000" b="1" dirty="0">
                <a:solidFill>
                  <a:srgbClr val="009845"/>
                </a:solidFill>
              </a:rPr>
              <a:t>Send QVD files to Qlik Cloud</a:t>
            </a:r>
          </a:p>
          <a:p>
            <a:pPr marL="514350" indent="-514350">
              <a:buAutoNum type="arabicPeriod"/>
            </a:pPr>
            <a:r>
              <a:rPr lang="en-GB" sz="2000" b="1" dirty="0">
                <a:solidFill>
                  <a:srgbClr val="009845"/>
                </a:solidFill>
              </a:rPr>
              <a:t>Analyse data using Qlik Cloud</a:t>
            </a:r>
          </a:p>
        </p:txBody>
      </p:sp>
      <p:sp>
        <p:nvSpPr>
          <p:cNvPr id="98" name="Title 4">
            <a:extLst>
              <a:ext uri="{FF2B5EF4-FFF2-40B4-BE49-F238E27FC236}">
                <a16:creationId xmlns:a16="http://schemas.microsoft.com/office/drawing/2014/main" id="{B9D6CA9E-D0E4-5609-068D-14A6A6F8B0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3538" y="882625"/>
            <a:ext cx="10808407" cy="684281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Architecture</a:t>
            </a:r>
          </a:p>
        </p:txBody>
      </p:sp>
    </p:spTree>
    <p:extLst>
      <p:ext uri="{BB962C8B-B14F-4D97-AF65-F5344CB8AC3E}">
        <p14:creationId xmlns:p14="http://schemas.microsoft.com/office/powerpoint/2010/main" val="10497457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3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3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3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3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1097D2E-2D00-3A89-CC4C-6E697CD47F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1796" y="1340768"/>
            <a:ext cx="10808407" cy="3168352"/>
          </a:xfrm>
        </p:spPr>
        <p:txBody>
          <a:bodyPr/>
          <a:lstStyle/>
          <a:p>
            <a:pPr marL="514350" indent="-514350">
              <a:buAutoNum type="arabicPeriod"/>
            </a:pPr>
            <a:r>
              <a:rPr lang="en-GB" sz="2000" b="1" dirty="0">
                <a:solidFill>
                  <a:srgbClr val="009845"/>
                </a:solidFill>
              </a:rPr>
              <a:t>Extract data from World Bank</a:t>
            </a:r>
          </a:p>
          <a:p>
            <a:pPr marL="514350" indent="-514350">
              <a:buAutoNum type="arabicPeriod"/>
            </a:pPr>
            <a:endParaRPr lang="en-GB" sz="2000" b="1" dirty="0">
              <a:solidFill>
                <a:srgbClr val="009845"/>
              </a:solidFill>
            </a:endParaRPr>
          </a:p>
          <a:p>
            <a:pPr marL="514350" indent="-514350">
              <a:buAutoNum type="arabicPeriod"/>
            </a:pPr>
            <a:endParaRPr lang="en-GB" sz="2000" b="1" dirty="0">
              <a:solidFill>
                <a:srgbClr val="009845"/>
              </a:solidFill>
            </a:endParaRPr>
          </a:p>
          <a:p>
            <a:pPr marL="514350" indent="-514350">
              <a:buAutoNum type="arabicPeriod"/>
            </a:pPr>
            <a:r>
              <a:rPr lang="en-GB" sz="2000" b="1" dirty="0">
                <a:solidFill>
                  <a:srgbClr val="009845"/>
                </a:solidFill>
              </a:rPr>
              <a:t>Load data into Postgres database</a:t>
            </a:r>
          </a:p>
          <a:p>
            <a:pPr marL="514350" indent="-514350">
              <a:buAutoNum type="arabicPeriod"/>
            </a:pPr>
            <a:endParaRPr lang="en-GB" sz="2000" b="1" dirty="0">
              <a:solidFill>
                <a:srgbClr val="009845"/>
              </a:solidFill>
            </a:endParaRPr>
          </a:p>
          <a:p>
            <a:pPr marL="514350" indent="-514350">
              <a:buAutoNum type="arabicPeriod"/>
            </a:pPr>
            <a:endParaRPr lang="en-GB" sz="2000" b="1" dirty="0">
              <a:solidFill>
                <a:srgbClr val="009845"/>
              </a:solidFill>
            </a:endParaRPr>
          </a:p>
          <a:p>
            <a:pPr marL="514350" indent="-514350">
              <a:buAutoNum type="arabicPeriod"/>
            </a:pPr>
            <a:r>
              <a:rPr lang="en-GB" sz="2000" b="1" dirty="0">
                <a:solidFill>
                  <a:srgbClr val="009845"/>
                </a:solidFill>
              </a:rPr>
              <a:t>Extract data from Postgres database and generate QVD files</a:t>
            </a:r>
          </a:p>
          <a:p>
            <a:pPr marL="514350" indent="-514350">
              <a:buAutoNum type="arabicPeriod"/>
            </a:pPr>
            <a:endParaRPr lang="en-GB" sz="2000" b="1" dirty="0">
              <a:solidFill>
                <a:srgbClr val="009845"/>
              </a:solidFill>
            </a:endParaRPr>
          </a:p>
          <a:p>
            <a:pPr marL="514350" indent="-514350">
              <a:buAutoNum type="arabicPeriod"/>
            </a:pPr>
            <a:endParaRPr lang="en-GB" sz="2000" b="1" dirty="0">
              <a:solidFill>
                <a:srgbClr val="009845"/>
              </a:solidFill>
            </a:endParaRPr>
          </a:p>
          <a:p>
            <a:pPr marL="514350" indent="-514350">
              <a:buAutoNum type="arabicPeriod"/>
            </a:pPr>
            <a:r>
              <a:rPr lang="en-GB" sz="2000" b="1" dirty="0">
                <a:solidFill>
                  <a:srgbClr val="009845"/>
                </a:solidFill>
              </a:rPr>
              <a:t>Send QVD files to Qlik Cloud</a:t>
            </a:r>
          </a:p>
          <a:p>
            <a:pPr marL="514350" indent="-514350">
              <a:buAutoNum type="arabicPeriod"/>
            </a:pPr>
            <a:endParaRPr lang="en-GB" sz="2000" b="1" dirty="0">
              <a:solidFill>
                <a:srgbClr val="009845"/>
              </a:solidFill>
            </a:endParaRPr>
          </a:p>
          <a:p>
            <a:pPr marL="514350" indent="-514350">
              <a:buAutoNum type="arabicPeriod"/>
            </a:pPr>
            <a:endParaRPr lang="en-GB" sz="2000" b="1" dirty="0">
              <a:solidFill>
                <a:srgbClr val="009845"/>
              </a:solidFill>
            </a:endParaRPr>
          </a:p>
          <a:p>
            <a:pPr marL="514350" indent="-514350">
              <a:buAutoNum type="arabicPeriod"/>
            </a:pPr>
            <a:r>
              <a:rPr lang="en-GB" sz="2000" b="1" dirty="0">
                <a:solidFill>
                  <a:srgbClr val="009845"/>
                </a:solidFill>
              </a:rPr>
              <a:t>Analyse data using Qlik Cloud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1168306D-9248-B2C1-16E4-3200367A2738}"/>
              </a:ext>
            </a:extLst>
          </p:cNvPr>
          <p:cNvSpPr txBox="1">
            <a:spLocks/>
          </p:cNvSpPr>
          <p:nvPr/>
        </p:nvSpPr>
        <p:spPr>
          <a:xfrm>
            <a:off x="5483932" y="1340768"/>
            <a:ext cx="1296143" cy="2880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377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667" b="0" i="0" kern="120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189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377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566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754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dirty="0">
                <a:solidFill>
                  <a:schemeClr val="tx1"/>
                </a:solidFill>
              </a:rPr>
              <a:t>Indicator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2803836-2EE2-E737-3ACB-44FAD60EA391}"/>
              </a:ext>
            </a:extLst>
          </p:cNvPr>
          <p:cNvSpPr txBox="1">
            <a:spLocks/>
          </p:cNvSpPr>
          <p:nvPr/>
        </p:nvSpPr>
        <p:spPr>
          <a:xfrm>
            <a:off x="7724433" y="837796"/>
            <a:ext cx="3096343" cy="3229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377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667" b="0" i="0" kern="120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189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377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566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754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b="1" dirty="0">
                <a:solidFill>
                  <a:schemeClr val="bg1">
                    <a:lumMod val="50000"/>
                  </a:schemeClr>
                </a:solidFill>
              </a:rPr>
              <a:t>%of access to Electricity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3E55D44-B380-2083-D286-D4BD7209C2E9}"/>
              </a:ext>
            </a:extLst>
          </p:cNvPr>
          <p:cNvSpPr txBox="1">
            <a:spLocks/>
          </p:cNvSpPr>
          <p:nvPr/>
        </p:nvSpPr>
        <p:spPr>
          <a:xfrm>
            <a:off x="7724433" y="1520788"/>
            <a:ext cx="3820026" cy="6480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377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667" b="0" i="0" kern="120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189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377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566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754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b="1" dirty="0">
                <a:solidFill>
                  <a:schemeClr val="bg1">
                    <a:lumMod val="50000"/>
                  </a:schemeClr>
                </a:solidFill>
              </a:rPr>
              <a:t>%of access to clean fuels and technology for cooking</a:t>
            </a:r>
          </a:p>
        </p:txBody>
      </p:sp>
      <p:cxnSp>
        <p:nvCxnSpPr>
          <p:cNvPr id="25" name="Conector de Seta Reta 24">
            <a:extLst>
              <a:ext uri="{FF2B5EF4-FFF2-40B4-BE49-F238E27FC236}">
                <a16:creationId xmlns:a16="http://schemas.microsoft.com/office/drawing/2014/main" id="{332D8F7A-E2A2-B9FA-82BE-B8625F7B60B2}"/>
              </a:ext>
            </a:extLst>
          </p:cNvPr>
          <p:cNvCxnSpPr/>
          <p:nvPr/>
        </p:nvCxnSpPr>
        <p:spPr>
          <a:xfrm>
            <a:off x="4871864" y="148478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: Curvo 26">
            <a:extLst>
              <a:ext uri="{FF2B5EF4-FFF2-40B4-BE49-F238E27FC236}">
                <a16:creationId xmlns:a16="http://schemas.microsoft.com/office/drawing/2014/main" id="{A27A32A1-96A6-F070-33B8-F2BAD8914539}"/>
              </a:ext>
            </a:extLst>
          </p:cNvPr>
          <p:cNvCxnSpPr/>
          <p:nvPr/>
        </p:nvCxnSpPr>
        <p:spPr>
          <a:xfrm flipV="1">
            <a:off x="6780075" y="980728"/>
            <a:ext cx="684077" cy="504056"/>
          </a:xfrm>
          <a:prstGeom prst="curved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: Curvo 28">
            <a:extLst>
              <a:ext uri="{FF2B5EF4-FFF2-40B4-BE49-F238E27FC236}">
                <a16:creationId xmlns:a16="http://schemas.microsoft.com/office/drawing/2014/main" id="{9B906301-92D9-4F64-B1AB-37DB12FAC1E5}"/>
              </a:ext>
            </a:extLst>
          </p:cNvPr>
          <p:cNvCxnSpPr>
            <a:cxnSpLocks/>
          </p:cNvCxnSpPr>
          <p:nvPr/>
        </p:nvCxnSpPr>
        <p:spPr>
          <a:xfrm>
            <a:off x="6780075" y="1484784"/>
            <a:ext cx="684077" cy="324036"/>
          </a:xfrm>
          <a:prstGeom prst="curved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tângulo: Cantos Arredondados 31">
            <a:extLst>
              <a:ext uri="{FF2B5EF4-FFF2-40B4-BE49-F238E27FC236}">
                <a16:creationId xmlns:a16="http://schemas.microsoft.com/office/drawing/2014/main" id="{A2E3F2F5-2ADD-4CF4-1A14-0A5585D99C65}"/>
              </a:ext>
            </a:extLst>
          </p:cNvPr>
          <p:cNvSpPr/>
          <p:nvPr/>
        </p:nvSpPr>
        <p:spPr>
          <a:xfrm>
            <a:off x="7608169" y="692696"/>
            <a:ext cx="3816424" cy="1476164"/>
          </a:xfrm>
          <a:prstGeom prst="roundRect">
            <a:avLst/>
          </a:prstGeom>
          <a:noFill/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209E5B10-3B93-3860-0754-28AF7DF995E8}"/>
              </a:ext>
            </a:extLst>
          </p:cNvPr>
          <p:cNvSpPr txBox="1">
            <a:spLocks/>
          </p:cNvSpPr>
          <p:nvPr/>
        </p:nvSpPr>
        <p:spPr>
          <a:xfrm>
            <a:off x="7608170" y="351200"/>
            <a:ext cx="3816424" cy="3229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377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667" b="0" i="0" kern="120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189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377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566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754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800" b="1" dirty="0">
                <a:solidFill>
                  <a:schemeClr val="bg1">
                    <a:lumMod val="50000"/>
                  </a:schemeClr>
                </a:solidFill>
              </a:rPr>
              <a:t>by Country and Year</a:t>
            </a:r>
          </a:p>
        </p:txBody>
      </p:sp>
    </p:spTree>
    <p:extLst>
      <p:ext uri="{BB962C8B-B14F-4D97-AF65-F5344CB8AC3E}">
        <p14:creationId xmlns:p14="http://schemas.microsoft.com/office/powerpoint/2010/main" val="17510557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oxi_talend_corporate_deck_2015">
  <a:themeElements>
    <a:clrScheme name="Custom 11">
      <a:dk1>
        <a:srgbClr val="545659"/>
      </a:dk1>
      <a:lt1>
        <a:srgbClr val="FFFFFF"/>
      </a:lt1>
      <a:dk2>
        <a:srgbClr val="244B59"/>
      </a:dk2>
      <a:lt2>
        <a:srgbClr val="1C345E"/>
      </a:lt2>
      <a:accent1>
        <a:srgbClr val="006580"/>
      </a:accent1>
      <a:accent2>
        <a:srgbClr val="870064"/>
      </a:accent2>
      <a:accent3>
        <a:srgbClr val="005CB9"/>
      </a:accent3>
      <a:accent4>
        <a:srgbClr val="156838"/>
      </a:accent4>
      <a:accent5>
        <a:srgbClr val="009845"/>
      </a:accent5>
      <a:accent6>
        <a:srgbClr val="655DC6"/>
      </a:accent6>
      <a:hlink>
        <a:srgbClr val="274B5A"/>
      </a:hlink>
      <a:folHlink>
        <a:srgbClr val="18678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Qlik_PPT_Template_091118" id="{E34E95C5-CE3F-044A-891C-98E438D1BEE7}" vid="{5BFE0B8E-2B30-9E41-9920-86294CEFF643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Custom Design">
  <a:themeElements>
    <a:clrScheme name="Qlik">
      <a:dk1>
        <a:srgbClr val="565656"/>
      </a:dk1>
      <a:lt1>
        <a:srgbClr val="FFFFFF"/>
      </a:lt1>
      <a:dk2>
        <a:srgbClr val="797979"/>
      </a:dk2>
      <a:lt2>
        <a:srgbClr val="FFFFFF"/>
      </a:lt2>
      <a:accent1>
        <a:srgbClr val="52A017"/>
      </a:accent1>
      <a:accent2>
        <a:srgbClr val="FEBD22"/>
      </a:accent2>
      <a:accent3>
        <a:srgbClr val="B8D108"/>
      </a:accent3>
      <a:accent4>
        <a:srgbClr val="F48518"/>
      </a:accent4>
      <a:accent5>
        <a:srgbClr val="3D7C20"/>
      </a:accent5>
      <a:accent6>
        <a:srgbClr val="FEBD22"/>
      </a:accent6>
      <a:hlink>
        <a:srgbClr val="0C66B6"/>
      </a:hlink>
      <a:folHlink>
        <a:srgbClr val="500A8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ustom Design">
  <a:themeElements>
    <a:clrScheme name="Qlik">
      <a:dk1>
        <a:srgbClr val="565656"/>
      </a:dk1>
      <a:lt1>
        <a:srgbClr val="FFFFFF"/>
      </a:lt1>
      <a:dk2>
        <a:srgbClr val="797979"/>
      </a:dk2>
      <a:lt2>
        <a:srgbClr val="FFFFFF"/>
      </a:lt2>
      <a:accent1>
        <a:srgbClr val="52A017"/>
      </a:accent1>
      <a:accent2>
        <a:srgbClr val="FEBD22"/>
      </a:accent2>
      <a:accent3>
        <a:srgbClr val="B8D108"/>
      </a:accent3>
      <a:accent4>
        <a:srgbClr val="F48518"/>
      </a:accent4>
      <a:accent5>
        <a:srgbClr val="3D7C20"/>
      </a:accent5>
      <a:accent6>
        <a:srgbClr val="FEBD22"/>
      </a:accent6>
      <a:hlink>
        <a:srgbClr val="0C66B6"/>
      </a:hlink>
      <a:folHlink>
        <a:srgbClr val="500A8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boxi_talend_corporate_deck_2015">
  <a:themeElements>
    <a:clrScheme name="Custom 11">
      <a:dk1>
        <a:srgbClr val="545659"/>
      </a:dk1>
      <a:lt1>
        <a:srgbClr val="FFFFFF"/>
      </a:lt1>
      <a:dk2>
        <a:srgbClr val="244B59"/>
      </a:dk2>
      <a:lt2>
        <a:srgbClr val="1C345E"/>
      </a:lt2>
      <a:accent1>
        <a:srgbClr val="006580"/>
      </a:accent1>
      <a:accent2>
        <a:srgbClr val="870064"/>
      </a:accent2>
      <a:accent3>
        <a:srgbClr val="005CB9"/>
      </a:accent3>
      <a:accent4>
        <a:srgbClr val="156838"/>
      </a:accent4>
      <a:accent5>
        <a:srgbClr val="009845"/>
      </a:accent5>
      <a:accent6>
        <a:srgbClr val="655DC6"/>
      </a:accent6>
      <a:hlink>
        <a:srgbClr val="274B5A"/>
      </a:hlink>
      <a:folHlink>
        <a:srgbClr val="18678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8A50DF12-D437-4785-874B-429B863F8A7E}" vid="{2B3CADBB-2FB1-48BB-9245-FDADAD2F8C67}"/>
    </a:ext>
  </a:extLst>
</a:theme>
</file>

<file path=ppt/theme/theme6.xml><?xml version="1.0" encoding="utf-8"?>
<a:theme xmlns:a="http://schemas.openxmlformats.org/drawingml/2006/main" name="QlikCorp Deck 2022">
  <a:themeElements>
    <a:clrScheme name="Custom 11">
      <a:dk1>
        <a:srgbClr val="545659"/>
      </a:dk1>
      <a:lt1>
        <a:srgbClr val="FFFFFF"/>
      </a:lt1>
      <a:dk2>
        <a:srgbClr val="244B59"/>
      </a:dk2>
      <a:lt2>
        <a:srgbClr val="1C345E"/>
      </a:lt2>
      <a:accent1>
        <a:srgbClr val="006580"/>
      </a:accent1>
      <a:accent2>
        <a:srgbClr val="870064"/>
      </a:accent2>
      <a:accent3>
        <a:srgbClr val="005CB9"/>
      </a:accent3>
      <a:accent4>
        <a:srgbClr val="156838"/>
      </a:accent4>
      <a:accent5>
        <a:srgbClr val="009845"/>
      </a:accent5>
      <a:accent6>
        <a:srgbClr val="655DC6"/>
      </a:accent6>
      <a:hlink>
        <a:srgbClr val="274B5A"/>
      </a:hlink>
      <a:folHlink>
        <a:srgbClr val="18678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Qlik_PPT_Template2022-ExampleSlides" id="{51EE6217-3824-A847-8AC2-02D8F4538BE9}" vid="{D21A5A98-B74A-A443-86C9-D078E7A80EFC}"/>
    </a:ext>
  </a:extLst>
</a:theme>
</file>

<file path=ppt/theme/theme7.xml><?xml version="1.0" encoding="utf-8"?>
<a:theme xmlns:a="http://schemas.openxmlformats.org/drawingml/2006/main" name="2_boxi_talend_corporate_deck_2015">
  <a:themeElements>
    <a:clrScheme name="Custom 11">
      <a:dk1>
        <a:srgbClr val="545659"/>
      </a:dk1>
      <a:lt1>
        <a:srgbClr val="FFFFFF"/>
      </a:lt1>
      <a:dk2>
        <a:srgbClr val="244B59"/>
      </a:dk2>
      <a:lt2>
        <a:srgbClr val="1C345E"/>
      </a:lt2>
      <a:accent1>
        <a:srgbClr val="006580"/>
      </a:accent1>
      <a:accent2>
        <a:srgbClr val="870064"/>
      </a:accent2>
      <a:accent3>
        <a:srgbClr val="005CB9"/>
      </a:accent3>
      <a:accent4>
        <a:srgbClr val="156838"/>
      </a:accent4>
      <a:accent5>
        <a:srgbClr val="009845"/>
      </a:accent5>
      <a:accent6>
        <a:srgbClr val="655DC6"/>
      </a:accent6>
      <a:hlink>
        <a:srgbClr val="274B5A"/>
      </a:hlink>
      <a:folHlink>
        <a:srgbClr val="18678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Qlik_PPT_Template-ExampleSlides_092018" id="{28CC2FAA-4EC3-EA49-868A-2C3CF6CA6ED5}" vid="{5315C66C-B399-6740-AB03-088FBAEC5844}"/>
    </a:ext>
  </a:extLst>
</a:theme>
</file>

<file path=ppt/theme/theme8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87</TotalTime>
  <Words>109</Words>
  <Application>Microsoft Office PowerPoint</Application>
  <PresentationFormat>Widescreen</PresentationFormat>
  <Paragraphs>36</Paragraphs>
  <Slides>2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7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</vt:i4>
      </vt:variant>
    </vt:vector>
  </HeadingPairs>
  <TitlesOfParts>
    <vt:vector size="14" baseType="lpstr">
      <vt:lpstr>Arial</vt:lpstr>
      <vt:lpstr>Calibri</vt:lpstr>
      <vt:lpstr>Helvetica</vt:lpstr>
      <vt:lpstr>System Font Regular</vt:lpstr>
      <vt:lpstr>boxi_talend_corporate_deck_2015</vt:lpstr>
      <vt:lpstr>Custom Design</vt:lpstr>
      <vt:lpstr>3_Custom Design</vt:lpstr>
      <vt:lpstr>1_Custom Design</vt:lpstr>
      <vt:lpstr>1_boxi_talend_corporate_deck_2015</vt:lpstr>
      <vt:lpstr>QlikCorp Deck 2022</vt:lpstr>
      <vt:lpstr>2_boxi_talend_corporate_deck_2015</vt:lpstr>
      <vt:lpstr>think-cell Slide</vt:lpstr>
      <vt:lpstr>Data Architecture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Hudson Faria</dc:creator>
  <cp:lastModifiedBy>Washington Nascimento</cp:lastModifiedBy>
  <cp:revision>167</cp:revision>
  <dcterms:created xsi:type="dcterms:W3CDTF">2019-07-16T14:12:24Z</dcterms:created>
  <dcterms:modified xsi:type="dcterms:W3CDTF">2023-10-26T17:12:11Z</dcterms:modified>
</cp:coreProperties>
</file>